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ppt/comments/comment2.xml" ContentType="application/vnd.openxmlformats-officedocument.presentationml.comments+xml"/>
  <Override PartName="/ppt/comments/comment3.xml" ContentType="application/vnd.openxmlformats-officedocument.presentationml.comments+xml"/>
  <Override PartName="/ppt/comments/comment4.xml" ContentType="application/vnd.openxmlformats-officedocument.presentationml.comment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2"/>
  </p:notesMasterIdLst>
  <p:handoutMasterIdLst>
    <p:handoutMasterId r:id="rId23"/>
  </p:handoutMasterIdLst>
  <p:sldIdLst>
    <p:sldId id="325" r:id="rId5"/>
    <p:sldId id="496" r:id="rId6"/>
    <p:sldId id="497" r:id="rId7"/>
    <p:sldId id="498" r:id="rId8"/>
    <p:sldId id="490" r:id="rId9"/>
    <p:sldId id="505" r:id="rId10"/>
    <p:sldId id="480" r:id="rId11"/>
    <p:sldId id="494" r:id="rId12"/>
    <p:sldId id="491" r:id="rId13"/>
    <p:sldId id="492" r:id="rId14"/>
    <p:sldId id="495" r:id="rId15"/>
    <p:sldId id="506" r:id="rId16"/>
    <p:sldId id="501" r:id="rId17"/>
    <p:sldId id="502" r:id="rId18"/>
    <p:sldId id="503" r:id="rId19"/>
    <p:sldId id="504" r:id="rId20"/>
    <p:sldId id="488" r:id="rId21"/>
  </p:sldIdLst>
  <p:sldSz cx="9144000" cy="5143500" type="screen16x9"/>
  <p:notesSz cx="6858000" cy="9144000"/>
  <p:custDataLst>
    <p:tags r:id="rId2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02">
          <p15:clr>
            <a:srgbClr val="A4A3A4"/>
          </p15:clr>
        </p15:guide>
        <p15:guide id="2" orient="horz" pos="3027">
          <p15:clr>
            <a:srgbClr val="A4A3A4"/>
          </p15:clr>
        </p15:guide>
        <p15:guide id="3" orient="horz" pos="166">
          <p15:clr>
            <a:srgbClr val="A4A3A4"/>
          </p15:clr>
        </p15:guide>
        <p15:guide id="4" orient="horz" pos="573">
          <p15:clr>
            <a:srgbClr val="A4A3A4"/>
          </p15:clr>
        </p15:guide>
        <p15:guide id="5" orient="horz" pos="2765">
          <p15:clr>
            <a:srgbClr val="A4A3A4"/>
          </p15:clr>
        </p15:guide>
        <p15:guide id="6" orient="horz" pos="480">
          <p15:clr>
            <a:srgbClr val="A4A3A4"/>
          </p15:clr>
        </p15:guide>
        <p15:guide id="7" orient="horz" pos="303">
          <p15:clr>
            <a:srgbClr val="A4A3A4"/>
          </p15:clr>
        </p15:guide>
        <p15:guide id="8" orient="horz" pos="3128">
          <p15:clr>
            <a:srgbClr val="A4A3A4"/>
          </p15:clr>
        </p15:guide>
        <p15:guide id="9" orient="horz" pos="2528">
          <p15:clr>
            <a:srgbClr val="A4A3A4"/>
          </p15:clr>
        </p15:guide>
        <p15:guide id="10" pos="2812">
          <p15:clr>
            <a:srgbClr val="A4A3A4"/>
          </p15:clr>
        </p15:guide>
        <p15:guide id="11" pos="5646">
          <p15:clr>
            <a:srgbClr val="A4A3A4"/>
          </p15:clr>
        </p15:guide>
        <p15:guide id="12" pos="261">
          <p15:clr>
            <a:srgbClr val="A4A3A4"/>
          </p15:clr>
        </p15:guide>
        <p15:guide id="13" pos="2949">
          <p15:clr>
            <a:srgbClr val="A4A3A4"/>
          </p15:clr>
        </p15:guide>
        <p15:guide id="14" pos="113">
          <p15:clr>
            <a:srgbClr val="A4A3A4"/>
          </p15:clr>
        </p15:guide>
        <p15:guide id="15" pos="5500">
          <p15:clr>
            <a:srgbClr val="A4A3A4"/>
          </p15:clr>
        </p15:guide>
        <p15:guide id="16" pos="5281">
          <p15:clr>
            <a:srgbClr val="A4A3A4"/>
          </p15:clr>
        </p15:guide>
        <p15:guide id="17" orient="horz" pos="690">
          <p15:clr>
            <a:srgbClr val="A4A3A4"/>
          </p15:clr>
        </p15:guide>
        <p15:guide id="18" orient="horz" pos="68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berto Biasibetti (DHL IT)" initials="AB(I" lastIdx="1" clrIdx="0">
    <p:extLst>
      <p:ext uri="{19B8F6BF-5375-455C-9EA6-DF929625EA0E}">
        <p15:presenceInfo xmlns:p15="http://schemas.microsoft.com/office/powerpoint/2012/main" userId="S-1-5-21-2763872571-2999947588-3099097816-22522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clrMru>
    <a:srgbClr val="CC9900"/>
    <a:srgbClr val="0000FF"/>
    <a:srgbClr val="DADADA"/>
    <a:srgbClr val="FF9966"/>
    <a:srgbClr val="663300"/>
    <a:srgbClr val="FF9900"/>
    <a:srgbClr val="FF5050"/>
    <a:srgbClr val="D50511"/>
    <a:srgbClr val="FF7C80"/>
    <a:srgbClr val="FF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969EC77-1B40-4C77-A995-AF05D22D4D0E}" styleName="DPDHL Table White BG">
    <a:tblBg>
      <a:fill>
        <a:noFill/>
      </a:fill>
    </a:tblBg>
    <a:wholeTbl>
      <a:tcTxStyle>
        <a:fontRef idx="minor"/>
        <a:schemeClr val="accent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bg1">
              <a:tint val="100000"/>
            </a:schemeClr>
          </a:solidFill>
        </a:fill>
      </a:tcStyle>
    </a:wholeTbl>
    <a:band1H>
      <a:tcStyle>
        <a:tcBdr/>
        <a:fill>
          <a:solidFill>
            <a:schemeClr val="accent5">
              <a:tint val="10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lumMod val="20000"/>
              <a:lumOff val="80000"/>
            </a:schemeClr>
          </a:solidFill>
        </a:fill>
      </a:tcStyle>
    </a:band1V>
    <a:band2V>
      <a:tcStyle>
        <a:tcBdr/>
      </a:tcStyle>
    </a:band2V>
    <a:lastCol>
      <a:tcTxStyle b="on"/>
      <a:tcStyle>
        <a:tcBdr/>
      </a:tcStyle>
    </a:lastCol>
    <a:firstCol>
      <a:tcTxStyle/>
      <a:tcStyle>
        <a:tcBdr/>
      </a:tcStyle>
    </a:firstCol>
    <a:lastRow>
      <a:tcTxStyle b="on"/>
      <a:tcStyle>
        <a:tcBdr/>
        <a:fill>
          <a:solidFill>
            <a:schemeClr val="bg1"/>
          </a:solidFill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solidFill>
            <a:schemeClr val="bg1"/>
          </a:solidFill>
        </a:fill>
      </a:tcStyle>
    </a:firstRow>
  </a:tblStyle>
  <a:tblStyle styleId="{09810C2D-2C2F-4581-8AFF-CD78C2D722A2}" styleName="DPDHL Table No BG">
    <a:tblBg>
      <a:fill>
        <a:noFill/>
      </a:fill>
    </a:tblBg>
    <a:wholeTbl>
      <a:tcTxStyle>
        <a:fontRef idx="minor"/>
        <a:schemeClr val="accent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tint val="10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lumMod val="20000"/>
              <a:lumOff val="80000"/>
            </a:schemeClr>
          </a:solidFill>
        </a:fill>
      </a:tcStyle>
    </a:band1V>
    <a:band2V>
      <a:tcStyle>
        <a:tcBdr/>
      </a:tcStyle>
    </a:band2V>
    <a:lastCol>
      <a:tcTxStyle b="on"/>
      <a:tcStyle>
        <a:tcBdr/>
      </a:tcStyle>
    </a:lastCol>
    <a:firstCol>
      <a:tcTxStyle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90" autoAdjust="0"/>
    <p:restoredTop sz="99821" autoAdjust="0"/>
  </p:normalViewPr>
  <p:slideViewPr>
    <p:cSldViewPr snapToGrid="0" snapToObjects="1">
      <p:cViewPr varScale="1">
        <p:scale>
          <a:sx n="154" d="100"/>
          <a:sy n="154" d="100"/>
        </p:scale>
        <p:origin x="426" y="144"/>
      </p:cViewPr>
      <p:guideLst>
        <p:guide orient="horz" pos="702"/>
        <p:guide orient="horz" pos="3027"/>
        <p:guide orient="horz" pos="166"/>
        <p:guide orient="horz" pos="573"/>
        <p:guide orient="horz" pos="2765"/>
        <p:guide orient="horz" pos="480"/>
        <p:guide orient="horz" pos="303"/>
        <p:guide orient="horz" pos="3128"/>
        <p:guide orient="horz" pos="2528"/>
        <p:guide pos="2812"/>
        <p:guide pos="5646"/>
        <p:guide pos="261"/>
        <p:guide pos="2949"/>
        <p:guide pos="113"/>
        <p:guide pos="5500"/>
        <p:guide pos="5281"/>
        <p:guide orient="horz" pos="690"/>
        <p:guide orient="horz" pos="68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82" d="100"/>
          <a:sy n="82" d="100"/>
        </p:scale>
        <p:origin x="-2064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1-26T12:04:19.495" idx="1">
    <p:pos x="10" y="10"/>
    <p:text/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1-26T12:04:19.495" idx="1">
    <p:pos x="10" y="10"/>
    <p:text/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1-26T12:04:19.495" idx="1">
    <p:pos x="10" y="10"/>
    <p:text/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1-26T12:04:19.495" idx="1">
    <p:pos x="10" y="10"/>
    <p:text/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12000" cy="468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546000" y="0"/>
            <a:ext cx="3312000" cy="468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r">
              <a:defRPr sz="1200"/>
            </a:lvl1pPr>
          </a:lstStyle>
          <a:p>
            <a:fld id="{19D11D04-14B6-471D-A1D6-B426EF7888B1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5/22/2020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04000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546000" y="8604000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r">
              <a:defRPr sz="1200"/>
            </a:lvl1pPr>
          </a:lstStyle>
          <a:p>
            <a:r>
              <a:rPr lang="en-US" dirty="0" smtClean="0">
                <a:latin typeface="Arial" pitchFamily="34" charset="0"/>
                <a:cs typeface="Arial" pitchFamily="34" charset="0"/>
              </a:rPr>
              <a:t>Hand out </a:t>
            </a:r>
            <a:fld id="{1987F2A0-9623-4C79-B830-6D590DA5FFFF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84542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12000" cy="540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l">
              <a:defRPr sz="1200" b="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546000" y="0"/>
            <a:ext cx="3312000" cy="540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r">
              <a:defRPr sz="1200" b="0"/>
            </a:lvl1pPr>
          </a:lstStyle>
          <a:p>
            <a:fld id="{2636F879-443D-410F-A2CF-15E984F48DC2}" type="datetimeFigureOut">
              <a:rPr lang="en-US" smtClean="0"/>
              <a:pPr/>
              <a:t>5/22/2020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err="1" smtClean="0"/>
              <a:t>TextmasterformatedurchKlickenbearbeiten</a:t>
            </a:r>
            <a:endParaRPr lang="en-US" dirty="0" smtClean="0"/>
          </a:p>
          <a:p>
            <a:pPr lvl="1"/>
            <a:r>
              <a:rPr lang="en-US" dirty="0" err="1" smtClean="0"/>
              <a:t>ZweiteEbene</a:t>
            </a:r>
            <a:endParaRPr lang="en-US" dirty="0" smtClean="0"/>
          </a:p>
          <a:p>
            <a:pPr lvl="2"/>
            <a:r>
              <a:rPr lang="en-US" dirty="0" err="1" smtClean="0"/>
              <a:t>DritteEbene</a:t>
            </a:r>
            <a:endParaRPr lang="en-US" dirty="0" smtClean="0"/>
          </a:p>
          <a:p>
            <a:pPr lvl="3"/>
            <a:r>
              <a:rPr lang="en-US" dirty="0" err="1" smtClean="0"/>
              <a:t>VierteEbene</a:t>
            </a:r>
            <a:endParaRPr lang="en-US" dirty="0" smtClean="0"/>
          </a:p>
          <a:p>
            <a:pPr lvl="4"/>
            <a:r>
              <a:rPr lang="en-US" dirty="0" err="1" smtClean="0"/>
              <a:t>Fünfte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02413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l">
              <a:defRPr sz="1200" b="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546000" y="8602413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r">
              <a:defRPr sz="1200" b="0"/>
            </a:lvl1pPr>
          </a:lstStyle>
          <a:p>
            <a:r>
              <a:rPr lang="en-US" dirty="0" smtClean="0"/>
              <a:t>Notice </a:t>
            </a:r>
            <a:fld id="{AE19FBA5-BE7F-4824-B54D-C07EBA2A496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90546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80000" indent="-18000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360000" indent="-18000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40000" indent="-18000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9A2C8A3-B7A6-4493-8C9C-982696EF72FE}" type="slidenum">
              <a:rPr lang="en-GB"/>
              <a:pPr/>
              <a:t>1</a:t>
            </a:fld>
            <a:endParaRPr lang="en-GB" dirty="0"/>
          </a:p>
        </p:txBody>
      </p:sp>
      <p:sp>
        <p:nvSpPr>
          <p:cNvPr id="3891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4213"/>
            <a:ext cx="6097588" cy="3430587"/>
          </a:xfrm>
          <a:ln/>
        </p:spPr>
      </p:sp>
      <p:sp>
        <p:nvSpPr>
          <p:cNvPr id="389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816" y="4343912"/>
            <a:ext cx="5026369" cy="411582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94667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9A2C8A3-B7A6-4493-8C9C-982696EF72FE}" type="slidenum">
              <a:rPr lang="en-GB"/>
              <a:pPr/>
              <a:t>17</a:t>
            </a:fld>
            <a:endParaRPr lang="en-GB" dirty="0"/>
          </a:p>
        </p:txBody>
      </p:sp>
      <p:sp>
        <p:nvSpPr>
          <p:cNvPr id="3891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4213"/>
            <a:ext cx="6097588" cy="3430587"/>
          </a:xfrm>
          <a:ln/>
        </p:spPr>
      </p:sp>
      <p:sp>
        <p:nvSpPr>
          <p:cNvPr id="389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816" y="4343912"/>
            <a:ext cx="5026369" cy="411582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77471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2"/>
          <p:cNvSpPr>
            <a:spLocks noGrp="1"/>
          </p:cNvSpPr>
          <p:nvPr>
            <p:ph type="pic" sz="quarter" idx="8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360000" tIns="0" rIns="360000" bIns="1800000" anchor="b" anchorCtr="0"/>
          <a:lstStyle>
            <a:lvl1pPr algn="ctr"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extplatzhalter 16"/>
          <p:cNvSpPr>
            <a:spLocks noGrp="1"/>
          </p:cNvSpPr>
          <p:nvPr>
            <p:ph type="body" sz="quarter" idx="7"/>
          </p:nvPr>
        </p:nvSpPr>
        <p:spPr bwMode="hidden">
          <a:xfrm>
            <a:off x="177800" y="3707288"/>
            <a:ext cx="8784000" cy="126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593600"/>
            <a:ext cx="5760000" cy="21616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200" b="1"/>
            </a:lvl1pPr>
          </a:lstStyle>
          <a:p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095125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6000" y="4510483"/>
            <a:ext cx="1800000" cy="259517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1767375"/>
            <a:ext cx="8316000" cy="4878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18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18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254939"/>
            <a:ext cx="8316000" cy="42385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0" name="Titel 13"/>
          <p:cNvSpPr>
            <a:spLocks noGrp="1"/>
          </p:cNvSpPr>
          <p:nvPr>
            <p:ph type="title" hasCustomPrompt="1"/>
          </p:nvPr>
        </p:nvSpPr>
        <p:spPr>
          <a:xfrm>
            <a:off x="414000" y="381601"/>
            <a:ext cx="8316000" cy="1385999"/>
          </a:xfrm>
        </p:spPr>
        <p:txBody>
          <a:bodyPr/>
          <a:lstStyle>
            <a:lvl1pPr>
              <a:lnSpc>
                <a:spcPct val="90000"/>
              </a:lnSpc>
              <a:defRPr sz="3700" cap="all" baseline="0"/>
            </a:lvl1pPr>
          </a:lstStyle>
          <a:p>
            <a:r>
              <a:rPr lang="de-DE" dirty="0" smtClean="0"/>
              <a:t>SAMPLE TITLE ONE OR</a:t>
            </a:r>
            <a:br>
              <a:rPr lang="de-DE" dirty="0" smtClean="0"/>
            </a:br>
            <a:r>
              <a:rPr lang="de-DE" dirty="0" smtClean="0"/>
              <a:t>TWO LINES, Arial, 37 </a:t>
            </a:r>
            <a:r>
              <a:rPr lang="de-DE" dirty="0" err="1" smtClean="0"/>
              <a:t>pt</a:t>
            </a:r>
            <a:endParaRPr lang="de-DE" dirty="0" smtClean="0"/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678798"/>
            <a:ext cx="8316000" cy="355334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Business Unit Descriptor, Arial (bold), 12 </a:t>
            </a:r>
            <a:r>
              <a:rPr lang="en-US" dirty="0" err="1" smtClean="0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39949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2" name="Gerade Verbindung 11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feld 14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Footer Placeholder 2"/>
          <p:cNvSpPr>
            <a:spLocks noGrp="1"/>
          </p:cNvSpPr>
          <p:nvPr userDrawn="1">
            <p:ph type="ftr" sz="quarter" idx="3"/>
          </p:nvPr>
        </p:nvSpPr>
        <p:spPr>
          <a:xfrm>
            <a:off x="2088826" y="4643610"/>
            <a:ext cx="6281461" cy="156194"/>
          </a:xfrm>
        </p:spPr>
        <p:txBody>
          <a:bodyPr/>
          <a:lstStyle/>
          <a:p>
            <a:r>
              <a:rPr lang="it-IT" dirty="0" smtClean="0"/>
              <a:t>Marketing &amp; Business Development – Product Development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6" name="Gerade Verbindung 15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feld 22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414337" y="1093909"/>
            <a:ext cx="4050000" cy="328729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12"/>
          </p:nvPr>
        </p:nvSpPr>
        <p:spPr>
          <a:xfrm>
            <a:off x="4681538" y="1093909"/>
            <a:ext cx="4050000" cy="328729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Footer Placeholder 2"/>
          <p:cNvSpPr>
            <a:spLocks noGrp="1"/>
          </p:cNvSpPr>
          <p:nvPr userDrawn="1">
            <p:ph type="ftr" sz="quarter" idx="3"/>
          </p:nvPr>
        </p:nvSpPr>
        <p:spPr>
          <a:xfrm>
            <a:off x="2088826" y="4643610"/>
            <a:ext cx="6281461" cy="156194"/>
          </a:xfrm>
        </p:spPr>
        <p:txBody>
          <a:bodyPr/>
          <a:lstStyle/>
          <a:p>
            <a:r>
              <a:rPr lang="it-IT" smtClean="0"/>
              <a:t>Marketing &amp; Business Development 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3"/>
          </p:nvPr>
        </p:nvSpPr>
        <p:spPr bwMode="ltGray">
          <a:xfrm>
            <a:off x="4681537" y="1093909"/>
            <a:ext cx="4050000" cy="3208091"/>
          </a:xfrm>
          <a:prstGeom prst="rect">
            <a:avLst/>
          </a:prstGeom>
          <a:solidFill>
            <a:schemeClr val="accent1"/>
          </a:solidFill>
        </p:spPr>
        <p:txBody>
          <a:bodyPr lIns="360000" tIns="720000" rIns="360000" anchor="t" anchorCtr="1"/>
          <a:lstStyle>
            <a:lvl1pPr algn="ctr"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6" name="Gerade Verbindung 15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sp>
        <p:nvSpPr>
          <p:cNvPr id="26" name="Titel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21"/>
          </p:nvPr>
        </p:nvSpPr>
        <p:spPr>
          <a:xfrm>
            <a:off x="414338" y="1093909"/>
            <a:ext cx="4050000" cy="32878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7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Footer Placeholder 2"/>
          <p:cNvSpPr>
            <a:spLocks noGrp="1"/>
          </p:cNvSpPr>
          <p:nvPr userDrawn="1">
            <p:ph type="ftr" sz="quarter" idx="3"/>
          </p:nvPr>
        </p:nvSpPr>
        <p:spPr>
          <a:xfrm>
            <a:off x="2088826" y="4643610"/>
            <a:ext cx="6281461" cy="156194"/>
          </a:xfrm>
        </p:spPr>
        <p:txBody>
          <a:bodyPr/>
          <a:lstStyle/>
          <a:p>
            <a:r>
              <a:rPr lang="it-IT" smtClean="0"/>
              <a:t>Marketing &amp; Business Development 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/>
          </p:nvPr>
        </p:nvSpPr>
        <p:spPr bwMode="ltGray">
          <a:xfrm>
            <a:off x="4681538" y="1093909"/>
            <a:ext cx="4050000" cy="1876091"/>
          </a:xfrm>
          <a:prstGeom prst="rect">
            <a:avLst/>
          </a:prstGeom>
          <a:solidFill>
            <a:schemeClr val="accent1"/>
          </a:solidFill>
        </p:spPr>
        <p:txBody>
          <a:bodyPr lIns="360000" tIns="720000" rIns="360000" anchor="t" anchorCtr="1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dirty="0" smtClean="0"/>
              <a:t>Click icon to add picture</a:t>
            </a:r>
          </a:p>
        </p:txBody>
      </p:sp>
      <p:sp>
        <p:nvSpPr>
          <p:cNvPr id="16" name="Bildplatzhalter 11"/>
          <p:cNvSpPr>
            <a:spLocks noGrp="1"/>
          </p:cNvSpPr>
          <p:nvPr>
            <p:ph type="pic" sz="quarter" idx="17"/>
          </p:nvPr>
        </p:nvSpPr>
        <p:spPr bwMode="ltGray">
          <a:xfrm>
            <a:off x="4678988" y="3077288"/>
            <a:ext cx="1962000" cy="1242000"/>
          </a:xfrm>
          <a:prstGeom prst="rect">
            <a:avLst/>
          </a:prstGeom>
          <a:solidFill>
            <a:schemeClr val="accent1"/>
          </a:solidFill>
        </p:spPr>
        <p:txBody>
          <a:bodyPr lIns="0" tIns="0" rIns="0" bIns="0" anchor="ctr" anchorCtr="1"/>
          <a:lstStyle>
            <a:lvl1pPr algn="ctr">
              <a:defRPr sz="100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7" name="Bildplatzhalter 11"/>
          <p:cNvSpPr>
            <a:spLocks noGrp="1"/>
          </p:cNvSpPr>
          <p:nvPr>
            <p:ph type="pic" sz="quarter" idx="18"/>
          </p:nvPr>
        </p:nvSpPr>
        <p:spPr bwMode="ltGray">
          <a:xfrm>
            <a:off x="6769538" y="3077288"/>
            <a:ext cx="1962000" cy="1242000"/>
          </a:xfrm>
          <a:prstGeom prst="rect">
            <a:avLst/>
          </a:prstGeom>
          <a:solidFill>
            <a:schemeClr val="accent1"/>
          </a:solidFill>
        </p:spPr>
        <p:txBody>
          <a:bodyPr lIns="0" tIns="0" rIns="0" bIns="0" anchor="ctr" anchorCtr="1"/>
          <a:lstStyle>
            <a:lvl1pPr algn="ctr">
              <a:defRPr sz="100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cxnSp>
        <p:nvCxnSpPr>
          <p:cNvPr id="21" name="Gerade Verbindung 20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el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6" name="Textfeld 25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20"/>
          </p:nvPr>
        </p:nvSpPr>
        <p:spPr>
          <a:xfrm>
            <a:off x="414338" y="1093909"/>
            <a:ext cx="4049712" cy="32878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8496591" y="4839362"/>
            <a:ext cx="384710" cy="176212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it-IT" dirty="0" smtClean="0"/>
              <a:t>Rev_01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8"/>
          <p:cNvSpPr>
            <a:spLocks noGrp="1"/>
          </p:cNvSpPr>
          <p:nvPr>
            <p:ph type="pic" sz="quarter" idx="13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180000" tIns="180000" rIns="180000" bIns="180000" anchor="ctr" anchorCtr="1"/>
          <a:lstStyle>
            <a:lvl1pPr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 bwMode="hidden">
          <a:xfrm>
            <a:off x="414000" y="2914161"/>
            <a:ext cx="5256000" cy="1772139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50000">
                <a:srgbClr val="FFCC00"/>
              </a:gs>
              <a:gs pos="100000">
                <a:srgbClr val="FFCC00"/>
              </a:gs>
            </a:gsLst>
            <a:lin ang="5400000" scaled="0"/>
          </a:gradFill>
        </p:spPr>
        <p:txBody>
          <a:bodyPr lIns="180000" tIns="432000" rIns="180000" bIns="180000" anchor="b" anchorCtr="0">
            <a:spAutoFit/>
          </a:bodyPr>
          <a:lstStyle>
            <a:lvl1pPr>
              <a:lnSpc>
                <a:spcPct val="100000"/>
              </a:lnSpc>
              <a:defRPr sz="2500" cap="none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 pt”</a:t>
            </a:r>
            <a:endParaRPr lang="en-US" noProof="0" dirty="0" smtClean="0"/>
          </a:p>
        </p:txBody>
      </p:sp>
      <p:sp>
        <p:nvSpPr>
          <p:cNvPr id="9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21261545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351000"/>
            <a:ext cx="8316000" cy="3240000"/>
          </a:xfrm>
          <a:prstGeom prst="rect">
            <a:avLst/>
          </a:prstGeom>
        </p:spPr>
        <p:txBody>
          <a:bodyPr lIns="900000" rIns="900000" anchor="ctr"/>
          <a:lstStyle>
            <a:lvl1pPr>
              <a:lnSpc>
                <a:spcPct val="100000"/>
              </a:lnSpc>
              <a:defRPr sz="2500" cap="none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25 pt”</a:t>
            </a:r>
            <a:endParaRPr lang="en-US" noProof="0" dirty="0" smtClean="0"/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12" name="Textfeld 11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261545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14000" y="1093909"/>
            <a:ext cx="8316000" cy="299823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1" baseline="0"/>
            </a:lvl1pPr>
            <a:lvl2pPr>
              <a:spcAft>
                <a:spcPts val="0"/>
              </a:spcAft>
              <a:buFontTx/>
              <a:buNone/>
              <a:defRPr sz="1200" b="0" baseline="0"/>
            </a:lvl2pPr>
            <a:lvl3pPr>
              <a:spcAft>
                <a:spcPts val="0"/>
              </a:spcAft>
              <a:buClr>
                <a:schemeClr val="tx1"/>
              </a:buClr>
              <a:defRPr sz="1200" baseline="0"/>
            </a:lvl3pPr>
            <a:lvl4pPr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–"/>
              <a:defRPr sz="1200" baseline="0"/>
            </a:lvl4pPr>
            <a:lvl5pPr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–"/>
              <a:defRPr sz="1200"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6" name="Rechteck 5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3" name="Gerade Verbindung 12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17" name="Textfeld 16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360000" tIns="0" rIns="360000" bIns="1800000" anchor="b" anchorCtr="0"/>
          <a:lstStyle>
            <a:lvl1pPr algn="ctr">
              <a:defRPr baseline="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9" name="Textplatzhalter 16"/>
          <p:cNvSpPr>
            <a:spLocks noGrp="1"/>
          </p:cNvSpPr>
          <p:nvPr>
            <p:ph type="body" sz="quarter" idx="15" hasCustomPrompt="1"/>
          </p:nvPr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lang="en-US" sz="100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400"/>
              </a:spcAft>
              <a:buFont typeface="Arial" pitchFamily="34" charset="0"/>
              <a:buNone/>
            </a:pP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3391200"/>
            <a:ext cx="8316000" cy="540000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ts val="55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noProof="0" dirty="0" smtClean="0"/>
              <a:t>Thank YOU</a:t>
            </a:r>
            <a:endParaRPr lang="en-US" noProof="0" dirty="0"/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sp>
        <p:nvSpPr>
          <p:cNvPr id="8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4621860"/>
            <a:ext cx="1260000" cy="181662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360000" tIns="0" rIns="360000" bIns="1800000" anchor="b" anchorCtr="0"/>
          <a:lstStyle>
            <a:lvl1pPr algn="ctr"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8" name="Textplatzhalter 16"/>
          <p:cNvSpPr>
            <a:spLocks noGrp="1"/>
          </p:cNvSpPr>
          <p:nvPr>
            <p:ph type="body" sz="quarter" idx="15" hasCustomPrompt="1"/>
          </p:nvPr>
        </p:nvSpPr>
        <p:spPr bwMode="hidden">
          <a:xfrm rot="10800000">
            <a:off x="180000" y="180000"/>
            <a:ext cx="8784000" cy="6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083600"/>
            <a:ext cx="8316000" cy="540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55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noProof="0" dirty="0" smtClean="0"/>
              <a:t>Thank YOU</a:t>
            </a:r>
            <a:endParaRPr lang="en-US" noProof="0" dirty="0"/>
          </a:p>
        </p:txBody>
      </p:sp>
      <p:sp>
        <p:nvSpPr>
          <p:cNvPr id="10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459000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298800"/>
            <a:ext cx="1260000" cy="18166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 flip="none" rotWithShape="1"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425600"/>
            <a:ext cx="8316000" cy="540000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ts val="55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noProof="0" dirty="0" smtClean="0"/>
              <a:t>Thank YOU</a:t>
            </a:r>
            <a:endParaRPr lang="en-US" noProof="0" dirty="0"/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2"/>
          <p:cNvSpPr>
            <a:spLocks noGrp="1"/>
          </p:cNvSpPr>
          <p:nvPr>
            <p:ph type="pic" sz="quarter" idx="8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360000" tIns="0" rIns="360000" bIns="1800000" anchor="b" anchorCtr="0"/>
          <a:lstStyle>
            <a:lvl1pPr algn="ctr"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extplatzhalter 16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0" y="180000"/>
            <a:ext cx="8784000" cy="126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el 9"/>
          <p:cNvSpPr>
            <a:spLocks noGrp="1"/>
          </p:cNvSpPr>
          <p:nvPr>
            <p:ph type="title" hasCustomPrompt="1"/>
          </p:nvPr>
        </p:nvSpPr>
        <p:spPr>
          <a:xfrm>
            <a:off x="414000" y="914400"/>
            <a:ext cx="8316000" cy="1385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3700" b="0" i="0" kern="1200" cap="all" baseline="0" dirty="0" smtClean="0">
                <a:solidFill>
                  <a:srgbClr val="D4051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37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75200"/>
            <a:ext cx="5760000" cy="21616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200" b="1"/>
            </a:lvl1pPr>
          </a:lstStyle>
          <a:p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4666226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6000" y="385200"/>
            <a:ext cx="1800000" cy="259517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00400"/>
            <a:ext cx="8316000" cy="4878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18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18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90000"/>
            <a:ext cx="8316000" cy="42385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213859"/>
            <a:ext cx="8316000" cy="355334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Business Unit Descriptor, Arial (bold), 12 </a:t>
            </a:r>
            <a:r>
              <a:rPr lang="en-US" dirty="0" err="1" smtClean="0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33363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: black font, big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11" descr="Verlauf_laengs_large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80000" y="1223100"/>
            <a:ext cx="8784000" cy="3786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8000" y="1296000"/>
            <a:ext cx="8208000" cy="1161000"/>
          </a:xfrm>
        </p:spPr>
        <p:txBody>
          <a:bodyPr/>
          <a:lstStyle>
            <a:lvl1pPr algn="l">
              <a:lnSpc>
                <a:spcPts val="6000"/>
              </a:lnSpc>
              <a:defRPr sz="550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File sharing tool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0" y="2592000"/>
            <a:ext cx="8208000" cy="81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Insert here the name of the event</a:t>
            </a:r>
            <a:br>
              <a:rPr lang="en-US" noProof="0" dirty="0" smtClean="0"/>
            </a:br>
            <a:r>
              <a:rPr lang="en-US" noProof="0" dirty="0" smtClean="0"/>
              <a:t>Location, date</a:t>
            </a:r>
            <a:endParaRPr lang="en-US" noProof="0" dirty="0"/>
          </a:p>
        </p:txBody>
      </p:sp>
      <p:sp>
        <p:nvSpPr>
          <p:cNvPr id="8" name="Textplatzhalter 14"/>
          <p:cNvSpPr txBox="1">
            <a:spLocks/>
          </p:cNvSpPr>
          <p:nvPr userDrawn="1"/>
        </p:nvSpPr>
        <p:spPr>
          <a:xfrm>
            <a:off x="467999" y="4576515"/>
            <a:ext cx="4493745" cy="2608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1200" b="0"/>
            </a:lvl1pPr>
          </a:lstStyle>
          <a:p>
            <a:pPr eaLnBrk="1" fontAlgn="auto" hangingPunct="1"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defRPr/>
            </a:pPr>
            <a:r>
              <a:rPr lang="en-US" dirty="0" smtClean="0">
                <a:solidFill>
                  <a:srgbClr val="000000"/>
                </a:solidFill>
                <a:latin typeface="Arial"/>
              </a:rPr>
              <a:t>DHL Express</a:t>
            </a:r>
            <a:r>
              <a:rPr lang="en-US" baseline="0" dirty="0" smtClean="0">
                <a:solidFill>
                  <a:srgbClr val="000000"/>
                </a:solidFill>
                <a:latin typeface="Arial"/>
              </a:rPr>
              <a:t> Italy</a:t>
            </a:r>
          </a:p>
        </p:txBody>
      </p:sp>
      <p:pic>
        <p:nvPicPr>
          <p:cNvPr id="7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416000" y="4655526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78456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B6351812-680B-4E74-AF73-B38C8387DFFE}" type="datetimeFigureOut">
              <a:rPr lang="en-US" smtClean="0"/>
              <a:t>5/2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61CBE9-E30A-42F9-8CB9-2E36FB7F0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5917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9"/>
          <p:cNvSpPr>
            <a:spLocks noGrp="1"/>
          </p:cNvSpPr>
          <p:nvPr>
            <p:ph type="title" hasCustomPrompt="1"/>
          </p:nvPr>
        </p:nvSpPr>
        <p:spPr>
          <a:xfrm>
            <a:off x="414000" y="828000"/>
            <a:ext cx="8316000" cy="1385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3700" b="0" i="0" kern="1200" cap="all" baseline="0" dirty="0" smtClean="0">
                <a:solidFill>
                  <a:srgbClr val="D4051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 dirty="0" smtClean="0"/>
              <a:t>SAMPLE TITLE ONE OR </a:t>
            </a:r>
            <a:br>
              <a:rPr lang="en-US" dirty="0" smtClean="0"/>
            </a:br>
            <a:r>
              <a:rPr lang="en-US" dirty="0" smtClean="0"/>
              <a:t>TWO LINES, Arial, 37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593600"/>
            <a:ext cx="5760000" cy="21616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200" b="1"/>
            </a:lvl1pPr>
          </a:lstStyle>
          <a:p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000" y="4517514"/>
            <a:ext cx="1800000" cy="259517"/>
          </a:xfrm>
          <a:prstGeom prst="rect">
            <a:avLst/>
          </a:prstGeom>
          <a:noFill/>
        </p:spPr>
      </p:pic>
      <p:sp>
        <p:nvSpPr>
          <p:cNvPr id="7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214000"/>
            <a:ext cx="8316000" cy="4878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18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18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00000"/>
            <a:ext cx="8316000" cy="42385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8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123860"/>
            <a:ext cx="8316000" cy="355334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Business Unit Descriptor, Arial (bold), 12 </a:t>
            </a:r>
            <a:r>
              <a:rPr lang="en-US" dirty="0" err="1" smtClean="0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8456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180000" tIns="180000" rIns="180000" bIns="180000" anchor="ctr" anchorCtr="1"/>
          <a:lstStyle>
            <a:lvl1pPr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0" name="Textplatzhalter 16"/>
          <p:cNvSpPr>
            <a:spLocks noGrp="1"/>
          </p:cNvSpPr>
          <p:nvPr>
            <p:ph type="body" sz="quarter" idx="15" hasCustomPrompt="1"/>
          </p:nvPr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lang="en-US" sz="100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400"/>
              </a:spcAft>
              <a:buFont typeface="Arial" pitchFamily="34" charset="0"/>
              <a:buNone/>
            </a:pPr>
            <a:endParaRPr lang="en-US"/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12" name="Foliennummernplatzhalter 26"/>
          <p:cNvSpPr>
            <a:spLocks noGrp="1"/>
          </p:cNvSpPr>
          <p:nvPr>
            <p:ph type="sldNum" sz="quarter" idx="4"/>
          </p:nvPr>
        </p:nvSpPr>
        <p:spPr bwMode="gray">
          <a:xfrm>
            <a:off x="8370286" y="4644000"/>
            <a:ext cx="362863" cy="15619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8557CD76-CD08-4D96-8C1E-56B746A3F9F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>
          <a:xfrm>
            <a:off x="413999" y="1105200"/>
            <a:ext cx="4248000" cy="1745093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3700" b="0" i="0" kern="1200" cap="all" baseline="0" dirty="0" smtClean="0">
                <a:solidFill>
                  <a:srgbClr val="D4051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37 pt</a:t>
            </a:r>
          </a:p>
        </p:txBody>
      </p:sp>
      <p:sp>
        <p:nvSpPr>
          <p:cNvPr id="14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4621860"/>
            <a:ext cx="1260000" cy="181662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8"/>
          <p:cNvSpPr>
            <a:spLocks noGrp="1"/>
          </p:cNvSpPr>
          <p:nvPr>
            <p:ph type="pic" sz="quarter" idx="13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180000" tIns="180000" rIns="180000" bIns="180000" anchor="ctr" anchorCtr="1"/>
          <a:lstStyle>
            <a:lvl1pPr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5" hasCustomPrompt="1"/>
          </p:nvPr>
        </p:nvSpPr>
        <p:spPr bwMode="hidden">
          <a:xfrm rot="10800000">
            <a:off x="180000" y="180000"/>
            <a:ext cx="8784000" cy="6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459360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324000"/>
            <a:ext cx="1260000" cy="18166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14000" y="1105200"/>
            <a:ext cx="6155999" cy="1349998"/>
          </a:xfrm>
        </p:spPr>
        <p:txBody>
          <a:bodyPr anchor="t"/>
          <a:lstStyle>
            <a:lvl1pPr>
              <a:lnSpc>
                <a:spcPct val="90000"/>
              </a:lnSpc>
              <a:defRPr sz="3700" cap="all" baseline="0"/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37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10" name="Textfeld 9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14000" y="1105199"/>
            <a:ext cx="6156000" cy="1350000"/>
          </a:xfrm>
        </p:spPr>
        <p:txBody>
          <a:bodyPr anchor="t"/>
          <a:lstStyle>
            <a:lvl1pPr>
              <a:lnSpc>
                <a:spcPct val="90000"/>
              </a:lnSpc>
              <a:defRPr sz="3700" cap="all" baseline="0"/>
            </a:lvl1pPr>
          </a:lstStyle>
          <a:p>
            <a:r>
              <a:rPr lang="en-US" dirty="0" smtClean="0"/>
              <a:t>section divider with Gradient, Arial, 37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1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14000" y="1093909"/>
            <a:ext cx="4050000" cy="3126116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lang="en-US" sz="12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marR="0" indent="0" algn="l" defTabSz="914400" rtl="0" eaLnBrk="1" fontAlgn="auto" latinLnBrk="0" hangingPunct="1">
              <a:lnSpc>
                <a:spcPct val="100000"/>
              </a:lnSpc>
              <a:spcAft>
                <a:spcPts val="500"/>
              </a:spcAft>
              <a:buClrTx/>
              <a:buSzTx/>
              <a:buFontTx/>
              <a:buNone/>
              <a:tabLst/>
              <a:defRPr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</a:p>
        </p:txBody>
      </p:sp>
      <p:sp>
        <p:nvSpPr>
          <p:cNvPr id="9" name="Rechteck 8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1" name="Gerade Verbindung 10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18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683150" y="1093909"/>
            <a:ext cx="4050000" cy="3126116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6"/>
              <a:tabLst/>
              <a:defRPr lang="en-US" sz="12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marR="0" indent="0" algn="l" defTabSz="914400" rtl="0" eaLnBrk="1" fontAlgn="auto" latinLnBrk="0" hangingPunct="1">
              <a:lnSpc>
                <a:spcPct val="100000"/>
              </a:lnSpc>
              <a:spcAft>
                <a:spcPts val="500"/>
              </a:spcAft>
              <a:buClrTx/>
              <a:buSzTx/>
              <a:buFontTx/>
              <a:buNone/>
              <a:tabLst/>
              <a:defRPr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8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19" name="Textfeld 18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638339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0" name="Textplatzhalter 18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13999" y="1093909"/>
            <a:ext cx="4050000" cy="20088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lang="en-US" sz="12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marR="0" indent="0" algn="l" defTabSz="914400" rtl="0" eaLnBrk="1" fontAlgn="auto" latinLnBrk="0" hangingPunct="1">
              <a:lnSpc>
                <a:spcPct val="100000"/>
              </a:lnSpc>
              <a:spcAft>
                <a:spcPts val="500"/>
              </a:spcAft>
              <a:buClrTx/>
              <a:buSzTx/>
              <a:buFontTx/>
              <a:buNone/>
              <a:tabLst/>
              <a:defRPr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12"/>
          </p:nvPr>
        </p:nvSpPr>
        <p:spPr bwMode="ltGray">
          <a:xfrm>
            <a:off x="3855150" y="3410025"/>
            <a:ext cx="1548000" cy="810000"/>
          </a:xfrm>
          <a:prstGeom prst="rect">
            <a:avLst/>
          </a:prstGeom>
          <a:solidFill>
            <a:schemeClr val="tx2"/>
          </a:solidFill>
        </p:spPr>
        <p:txBody>
          <a:bodyPr wrap="square" lIns="90000" tIns="90000" rIns="90000" bIns="90000"/>
          <a:lstStyle>
            <a:lvl1pPr>
              <a:defRPr sz="1000" b="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855150" y="3140025"/>
            <a:ext cx="1548000" cy="27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8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14"/>
          </p:nvPr>
        </p:nvSpPr>
        <p:spPr bwMode="ltGray">
          <a:xfrm>
            <a:off x="5520150" y="3410025"/>
            <a:ext cx="1548000" cy="810000"/>
          </a:xfrm>
          <a:prstGeom prst="rect">
            <a:avLst/>
          </a:prstGeom>
          <a:solidFill>
            <a:schemeClr val="tx2"/>
          </a:solidFill>
        </p:spPr>
        <p:txBody>
          <a:bodyPr wrap="square" lIns="90000" tIns="90000" rIns="90000" bIns="90000"/>
          <a:lstStyle>
            <a:lvl1pPr>
              <a:defRPr sz="1000" b="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6" name="Textplatzhalt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520150" y="3140025"/>
            <a:ext cx="1548000" cy="27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8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7" name="Bildplatzhalter 9"/>
          <p:cNvSpPr>
            <a:spLocks noGrp="1"/>
          </p:cNvSpPr>
          <p:nvPr>
            <p:ph type="pic" sz="quarter" idx="16"/>
          </p:nvPr>
        </p:nvSpPr>
        <p:spPr bwMode="ltGray">
          <a:xfrm>
            <a:off x="7185150" y="3410025"/>
            <a:ext cx="1548000" cy="810000"/>
          </a:xfrm>
          <a:prstGeom prst="rect">
            <a:avLst/>
          </a:prstGeom>
          <a:solidFill>
            <a:schemeClr val="tx2"/>
          </a:solidFill>
        </p:spPr>
        <p:txBody>
          <a:bodyPr wrap="square" lIns="90000" tIns="90000" rIns="90000" bIns="90000"/>
          <a:lstStyle>
            <a:lvl1pPr>
              <a:defRPr sz="1000" b="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185150" y="3140025"/>
            <a:ext cx="1548000" cy="27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800" b="0"/>
            </a:lvl1pPr>
          </a:lstStyle>
          <a:p>
            <a:pPr lvl="0"/>
            <a:r>
              <a:rPr lang="en-US" smtClean="0"/>
              <a:t>Section #</a:t>
            </a:r>
            <a:endParaRPr lang="en-US" dirty="0"/>
          </a:p>
        </p:txBody>
      </p:sp>
      <p:cxnSp>
        <p:nvCxnSpPr>
          <p:cNvPr id="20" name="Gerade Verbindung 19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33" name="Textfeld 32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638339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" b="0" i="0" u="none" strike="noStrike" cap="none" normalizeH="0" baseline="0" dirty="0" smtClean="0">
              <a:ln>
                <a:noFill/>
              </a:ln>
              <a:solidFill>
                <a:schemeClr val="accent3"/>
              </a:solidFill>
              <a:effectLst/>
              <a:latin typeface="Arial" charset="0"/>
            </a:endParaRPr>
          </a:p>
        </p:txBody>
      </p:sp>
      <p:cxnSp>
        <p:nvCxnSpPr>
          <p:cNvPr id="17" name="Gerade Verbindung 16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23" name="Textfeld 22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/>
          </p:nvPr>
        </p:nvSpPr>
        <p:spPr>
          <a:xfrm>
            <a:off x="414338" y="1093909"/>
            <a:ext cx="8318500" cy="3287591"/>
          </a:xfrm>
        </p:spPr>
        <p:txBody>
          <a:bodyPr/>
          <a:lstStyle>
            <a:lvl3pPr>
              <a:defRPr/>
            </a:lvl3pPr>
            <a:lvl4pPr>
              <a:defRPr/>
            </a:lvl4pPr>
            <a:lvl5pPr marL="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3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85841879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4" name="think-cell Folie" r:id="rId25" imgW="360" imgH="360" progId="">
                  <p:embed/>
                </p:oleObj>
              </mc:Choice>
              <mc:Fallback>
                <p:oleObj name="think-cell Folie" r:id="rId25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elplatzhalter 23"/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idx="1"/>
          </p:nvPr>
        </p:nvSpPr>
        <p:spPr>
          <a:xfrm>
            <a:off x="414000" y="1093909"/>
            <a:ext cx="8316000" cy="329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meta-classification"/>
          <p:cNvSpPr txBox="1"/>
          <p:nvPr/>
        </p:nvSpPr>
        <p:spPr>
          <a:xfrm>
            <a:off x="414000" y="0"/>
            <a:ext cx="1003480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/>
          <a:p>
            <a:pPr lvl="0"/>
            <a:r>
              <a:rPr lang="en-US" sz="800" b="1" dirty="0" smtClean="0">
                <a:solidFill>
                  <a:schemeClr val="accent1"/>
                </a:solidFill>
              </a:rPr>
              <a:t>FOR INTERNAL USE</a:t>
            </a:r>
          </a:p>
        </p:txBody>
      </p:sp>
      <p:grpSp>
        <p:nvGrpSpPr>
          <p:cNvPr id="27" name="dpic_guideLines" hidden="1"/>
          <p:cNvGrpSpPr/>
          <p:nvPr/>
        </p:nvGrpSpPr>
        <p:grpSpPr>
          <a:xfrm>
            <a:off x="0" y="0"/>
            <a:ext cx="9144000" cy="5144400"/>
            <a:chOff x="0" y="0"/>
            <a:chExt cx="9144000" cy="5144400"/>
          </a:xfrm>
        </p:grpSpPr>
        <p:cxnSp>
          <p:nvCxnSpPr>
            <p:cNvPr id="28" name="Gerade Verbindung 27" hidden="1"/>
            <p:cNvCxnSpPr/>
            <p:nvPr/>
          </p:nvCxnSpPr>
          <p:spPr bwMode="gray">
            <a:xfrm>
              <a:off x="411619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Gerade Verbindung 28" hidden="1"/>
            <p:cNvCxnSpPr/>
            <p:nvPr/>
          </p:nvCxnSpPr>
          <p:spPr bwMode="gray">
            <a:xfrm>
              <a:off x="8730000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0" name="Gerade Verbindung 29" hidden="1"/>
            <p:cNvCxnSpPr/>
            <p:nvPr/>
          </p:nvCxnSpPr>
          <p:spPr bwMode="gray">
            <a:xfrm>
              <a:off x="4463255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1" name="Gerade Verbindung 30" hidden="1"/>
            <p:cNvCxnSpPr/>
            <p:nvPr/>
          </p:nvCxnSpPr>
          <p:spPr bwMode="gray">
            <a:xfrm>
              <a:off x="4679950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Gerade Verbindung 31" hidden="1"/>
            <p:cNvCxnSpPr/>
            <p:nvPr/>
          </p:nvCxnSpPr>
          <p:spPr bwMode="gray">
            <a:xfrm>
              <a:off x="0" y="477524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" name="Gerade Verbindung 33" hidden="1"/>
            <p:cNvCxnSpPr/>
            <p:nvPr/>
          </p:nvCxnSpPr>
          <p:spPr bwMode="gray">
            <a:xfrm>
              <a:off x="0" y="4802188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Gerade Verbindung 34" hidden="1"/>
            <p:cNvCxnSpPr/>
            <p:nvPr/>
          </p:nvCxnSpPr>
          <p:spPr bwMode="gray">
            <a:xfrm>
              <a:off x="0" y="759612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Gerade Verbindung 35" hidden="1"/>
            <p:cNvCxnSpPr/>
            <p:nvPr/>
          </p:nvCxnSpPr>
          <p:spPr bwMode="gray">
            <a:xfrm>
              <a:off x="0" y="1089945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7" name="Gerade Verbindung 36" hidden="1"/>
            <p:cNvCxnSpPr/>
            <p:nvPr/>
          </p:nvCxnSpPr>
          <p:spPr bwMode="gray">
            <a:xfrm>
              <a:off x="0" y="262743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Gerade Verbindung 37" hidden="1"/>
            <p:cNvCxnSpPr/>
            <p:nvPr/>
          </p:nvCxnSpPr>
          <p:spPr bwMode="gray">
            <a:xfrm>
              <a:off x="0" y="4009181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Gerade Verbindung 38" hidden="1"/>
            <p:cNvCxnSpPr/>
            <p:nvPr/>
          </p:nvCxnSpPr>
          <p:spPr bwMode="gray">
            <a:xfrm>
              <a:off x="0" y="4962021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0" name="Gerade Verbindung 39" hidden="1"/>
            <p:cNvCxnSpPr/>
            <p:nvPr/>
          </p:nvCxnSpPr>
          <p:spPr bwMode="gray">
            <a:xfrm>
              <a:off x="8961619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1" name="Gerade Verbindung 40" hidden="1"/>
            <p:cNvCxnSpPr/>
            <p:nvPr/>
          </p:nvCxnSpPr>
          <p:spPr bwMode="gray">
            <a:xfrm>
              <a:off x="175238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Gerade Verbindung 41" hidden="1"/>
            <p:cNvCxnSpPr/>
            <p:nvPr/>
          </p:nvCxnSpPr>
          <p:spPr bwMode="gray">
            <a:xfrm>
              <a:off x="2088827" y="4331800"/>
              <a:ext cx="0" cy="485733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Gerade Verbindung 42" hidden="1"/>
            <p:cNvCxnSpPr/>
            <p:nvPr/>
          </p:nvCxnSpPr>
          <p:spPr bwMode="gray">
            <a:xfrm>
              <a:off x="8373450" y="4332330"/>
              <a:ext cx="0" cy="485733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2" name="Fußzeilenplatzhalter 21"/>
          <p:cNvSpPr>
            <a:spLocks noGrp="1"/>
          </p:cNvSpPr>
          <p:nvPr>
            <p:ph type="ftr" sz="quarter" idx="3"/>
          </p:nvPr>
        </p:nvSpPr>
        <p:spPr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 smtClean="0"/>
              <a:t>Marketing &amp; Business Development – Product Development </a:t>
            </a:r>
            <a:endParaRPr lang="de-DE" dirty="0"/>
          </a:p>
        </p:txBody>
      </p:sp>
      <p:sp>
        <p:nvSpPr>
          <p:cNvPr id="23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8369013" y="4644000"/>
            <a:ext cx="364137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914400" rtl="0" eaLnBrk="1" latinLnBrk="0" hangingPunct="1">
              <a:def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537D1FE-6E55-4102-9A9A-3FF2AE236C9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7727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76" r:id="rId4"/>
    <p:sldLayoutId id="2147483678" r:id="rId5"/>
    <p:sldLayoutId id="2147483691" r:id="rId6"/>
    <p:sldLayoutId id="2147483658" r:id="rId7"/>
    <p:sldLayoutId id="2147483659" r:id="rId8"/>
    <p:sldLayoutId id="2147483650" r:id="rId9"/>
    <p:sldLayoutId id="2147483654" r:id="rId10"/>
    <p:sldLayoutId id="2147483686" r:id="rId11"/>
    <p:sldLayoutId id="2147483687" r:id="rId12"/>
    <p:sldLayoutId id="2147483693" r:id="rId13"/>
    <p:sldLayoutId id="2147483668" r:id="rId14"/>
    <p:sldLayoutId id="2147483667" r:id="rId15"/>
    <p:sldLayoutId id="2147483692" r:id="rId16"/>
    <p:sldLayoutId id="2147483674" r:id="rId17"/>
    <p:sldLayoutId id="2147483675" r:id="rId18"/>
    <p:sldLayoutId id="2147483690" r:id="rId19"/>
    <p:sldLayoutId id="2147483694" r:id="rId20"/>
    <p:sldLayoutId id="2147483695" r:id="rId21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800" kern="1200" cap="none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itchFamily="34" charset="0"/>
        <a:buNone/>
        <a:defRPr sz="1200" b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sz="1200" b="0" i="0" kern="1200" baseline="0">
          <a:solidFill>
            <a:schemeClr val="tx1"/>
          </a:solidFill>
          <a:latin typeface="+mj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400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1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.jp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7.png"/><Relationship Id="rId7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visuallogita.prg-dc.dhl.com/streams/5bf3f8eaa11aa52b59d7872e/search?rangetype=absolute&amp;fields=source,message,VID&amp;width=2403&amp;highlightMessage=&amp;from=2019-11-30T23:00:00.000Z&amp;timerange-absolute-from=2019-12-01%2000:00:00&amp;to=2019-12-02T23:00:00.000Z&amp;timerange-absolute-to=2019-12-03%2000:00:00&amp;q=_exists_:VID%20AND%20VID:%222019120299017678%22" TargetMode="External"/><Relationship Id="rId5" Type="http://schemas.openxmlformats.org/officeDocument/2006/relationships/hyperlink" Target="https://visuallogita.prg-dc.dhl.com/" TargetMode="External"/><Relationship Id="rId4" Type="http://schemas.openxmlformats.org/officeDocument/2006/relationships/image" Target="../media/image13.jpg"/><Relationship Id="rId9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4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0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355600" y="1224686"/>
            <a:ext cx="7931150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dirty="0" smtClean="0">
                <a:solidFill>
                  <a:srgbClr val="C00000"/>
                </a:solidFill>
              </a:rPr>
              <a:t>HUB – SATS Information</a:t>
            </a:r>
          </a:p>
          <a:p>
            <a:endParaRPr lang="it-IT" sz="3200" dirty="0">
              <a:solidFill>
                <a:srgbClr val="C00000"/>
              </a:solidFill>
            </a:endParaRPr>
          </a:p>
          <a:p>
            <a:endParaRPr lang="it-IT" sz="2400" dirty="0" smtClean="0">
              <a:solidFill>
                <a:srgbClr val="C00000"/>
              </a:solidFill>
            </a:endParaRPr>
          </a:p>
          <a:p>
            <a:endParaRPr lang="it-IT" sz="1400" dirty="0" smtClean="0">
              <a:solidFill>
                <a:srgbClr val="C00000"/>
              </a:solidFill>
            </a:endParaRPr>
          </a:p>
          <a:p>
            <a:endParaRPr lang="it-IT" sz="1400" dirty="0">
              <a:solidFill>
                <a:srgbClr val="C00000"/>
              </a:solidFill>
            </a:endParaRPr>
          </a:p>
          <a:p>
            <a:endParaRPr lang="it-IT" sz="1400" dirty="0" smtClean="0">
              <a:solidFill>
                <a:srgbClr val="C00000"/>
              </a:solidFill>
            </a:endParaRPr>
          </a:p>
          <a:p>
            <a:r>
              <a:rPr lang="it-IT" sz="1200" dirty="0" smtClean="0"/>
              <a:t>02 / 12 / 2019</a:t>
            </a:r>
          </a:p>
          <a:p>
            <a:endParaRPr lang="it-IT" sz="1200" dirty="0"/>
          </a:p>
          <a:p>
            <a:endParaRPr lang="it-IT" sz="1200" dirty="0"/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it-IT" dirty="0" smtClean="0"/>
              <a:t>COW VIEWS</a:t>
            </a:r>
            <a:endParaRPr lang="it-IT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999" y="1048280"/>
            <a:ext cx="8321897" cy="153506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414000" y="2669541"/>
            <a:ext cx="832189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smtClean="0"/>
              <a:t>COW </a:t>
            </a:r>
            <a:r>
              <a:rPr lang="en-US" sz="1000" dirty="0"/>
              <a:t>VIEWS QUERY FOR </a:t>
            </a:r>
            <a:r>
              <a:rPr lang="en-US" sz="1000" dirty="0" smtClean="0"/>
              <a:t>GRAYLOG </a:t>
            </a:r>
            <a:r>
              <a:rPr lang="en-US" sz="1000" dirty="0"/>
              <a:t>DASHBOARD (Use two difference chart and arise in one each other):</a:t>
            </a:r>
          </a:p>
          <a:p>
            <a:endParaRPr lang="en-US" sz="1000" dirty="0"/>
          </a:p>
          <a:p>
            <a:r>
              <a:rPr lang="en-US" sz="1000" dirty="0"/>
              <a:t>Field for chart</a:t>
            </a:r>
            <a:r>
              <a:rPr lang="en-US" sz="1000" dirty="0" smtClean="0"/>
              <a:t>:</a:t>
            </a:r>
            <a:endParaRPr lang="en-US" sz="1000" dirty="0"/>
          </a:p>
          <a:p>
            <a:r>
              <a:rPr lang="en-US" sz="1000" dirty="0"/>
              <a:t>    1st query: Field": "COW_VIEWS", "</a:t>
            </a:r>
            <a:r>
              <a:rPr lang="en-US" sz="1000" dirty="0" err="1"/>
              <a:t>statistical_function</a:t>
            </a:r>
            <a:r>
              <a:rPr lang="en-US" sz="1000" dirty="0"/>
              <a:t>": "means"</a:t>
            </a:r>
          </a:p>
          <a:p>
            <a:r>
              <a:rPr lang="en-US" sz="1000" dirty="0"/>
              <a:t>    2nd query: Field": "HDMGTP", "</a:t>
            </a:r>
            <a:r>
              <a:rPr lang="en-US" sz="1000" dirty="0" err="1"/>
              <a:t>statistical_function</a:t>
            </a:r>
            <a:r>
              <a:rPr lang="en-US" sz="1000" dirty="0"/>
              <a:t>": "count"</a:t>
            </a:r>
          </a:p>
          <a:p>
            <a:endParaRPr lang="en-US" sz="1000" dirty="0"/>
          </a:p>
          <a:p>
            <a:r>
              <a:rPr lang="en-US" sz="1000" dirty="0" smtClean="0"/>
              <a:t>Query:</a:t>
            </a:r>
            <a:endParaRPr lang="en-US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HUB-NAME</a:t>
            </a:r>
            <a:r>
              <a:rPr lang="en-US" sz="1000" dirty="0"/>
              <a:t>:"HUB-NAME" AND HDSDID:"TIER1" AND (HDMGTP:"SORT_INST" OR HDMGTP:"SORT_ACK") AND COW_VIEWS:&lt;</a:t>
            </a:r>
            <a:r>
              <a:rPr lang="en-US" sz="1000" dirty="0" smtClean="0"/>
              <a:t>15000  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HUB-NAME</a:t>
            </a:r>
            <a:r>
              <a:rPr lang="en-US" sz="1000" dirty="0"/>
              <a:t>:"HUB-NAME" AND HDSDID:"TIER2" AND (HDMGTP:"SORT_RQST" OR HDMGTP:"SP_STATUS" OR HDMGTP:"SORT_RSLT" OR HDMGTP:"ITEM_DATA" OR HDMGTP:"LP_RESULT")</a:t>
            </a:r>
          </a:p>
        </p:txBody>
      </p:sp>
      <p:sp>
        <p:nvSpPr>
          <p:cNvPr id="7" name="Rectangle 6"/>
          <p:cNvSpPr/>
          <p:nvPr/>
        </p:nvSpPr>
        <p:spPr>
          <a:xfrm>
            <a:off x="8328713" y="67855"/>
            <a:ext cx="46359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 smtClean="0"/>
              <a:t>  _   _</a:t>
            </a:r>
            <a:endParaRPr lang="en-US" sz="700" dirty="0"/>
          </a:p>
          <a:p>
            <a:r>
              <a:rPr lang="en-US" sz="700" dirty="0"/>
              <a:t>((___))</a:t>
            </a:r>
          </a:p>
          <a:p>
            <a:r>
              <a:rPr lang="en-US" sz="700" dirty="0" smtClean="0"/>
              <a:t>  [ </a:t>
            </a:r>
            <a:r>
              <a:rPr lang="en-US" sz="700" dirty="0"/>
              <a:t>- - ]</a:t>
            </a:r>
          </a:p>
          <a:p>
            <a:r>
              <a:rPr lang="en-US" sz="700" dirty="0"/>
              <a:t> </a:t>
            </a:r>
            <a:r>
              <a:rPr lang="en-US" sz="700" dirty="0" smtClean="0"/>
              <a:t>  \   </a:t>
            </a:r>
            <a:r>
              <a:rPr lang="en-US" sz="700" dirty="0"/>
              <a:t>/</a:t>
            </a:r>
          </a:p>
          <a:p>
            <a:r>
              <a:rPr lang="en-US" sz="700" dirty="0"/>
              <a:t> </a:t>
            </a:r>
            <a:r>
              <a:rPr lang="en-US" sz="700" dirty="0" smtClean="0"/>
              <a:t>  (' </a:t>
            </a:r>
            <a:r>
              <a:rPr lang="en-US" sz="700" dirty="0"/>
              <a:t>')</a:t>
            </a:r>
          </a:p>
          <a:p>
            <a:r>
              <a:rPr lang="en-US" sz="700" dirty="0"/>
              <a:t>  </a:t>
            </a:r>
            <a:r>
              <a:rPr lang="en-US" sz="700" dirty="0" smtClean="0"/>
              <a:t> (</a:t>
            </a:r>
            <a:r>
              <a:rPr lang="en-US" sz="700" dirty="0"/>
              <a:t>U)</a:t>
            </a:r>
          </a:p>
        </p:txBody>
      </p:sp>
    </p:spTree>
    <p:extLst>
      <p:ext uri="{BB962C8B-B14F-4D97-AF65-F5344CB8AC3E}">
        <p14:creationId xmlns:p14="http://schemas.microsoft.com/office/powerpoint/2010/main" val="3947875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it-IT" dirty="0" smtClean="0"/>
              <a:t>COW VIEWS Vs </a:t>
            </a:r>
            <a:r>
              <a:rPr lang="it-IT" dirty="0"/>
              <a:t>T</a:t>
            </a:r>
            <a:r>
              <a:rPr lang="it-IT" dirty="0" smtClean="0"/>
              <a:t>otal </a:t>
            </a:r>
            <a:r>
              <a:rPr lang="it-IT" dirty="0" err="1" smtClean="0"/>
              <a:t>messages</a:t>
            </a:r>
            <a:r>
              <a:rPr lang="it-IT" dirty="0" smtClean="0"/>
              <a:t> – Real </a:t>
            </a:r>
            <a:r>
              <a:rPr lang="it-IT" dirty="0" err="1" smtClean="0"/>
              <a:t>issue</a:t>
            </a:r>
            <a:endParaRPr lang="it-IT" dirty="0"/>
          </a:p>
        </p:txBody>
      </p:sp>
      <p:sp>
        <p:nvSpPr>
          <p:cNvPr id="7" name="Rectangle 6"/>
          <p:cNvSpPr/>
          <p:nvPr/>
        </p:nvSpPr>
        <p:spPr>
          <a:xfrm>
            <a:off x="8328713" y="67855"/>
            <a:ext cx="46359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 smtClean="0"/>
              <a:t>  _   _</a:t>
            </a:r>
            <a:endParaRPr lang="en-US" sz="700" dirty="0"/>
          </a:p>
          <a:p>
            <a:r>
              <a:rPr lang="en-US" sz="700" dirty="0"/>
              <a:t>((___))</a:t>
            </a:r>
          </a:p>
          <a:p>
            <a:r>
              <a:rPr lang="en-US" sz="700" dirty="0" smtClean="0"/>
              <a:t>  [ </a:t>
            </a:r>
            <a:r>
              <a:rPr lang="en-US" sz="700" dirty="0"/>
              <a:t>- - ]</a:t>
            </a:r>
          </a:p>
          <a:p>
            <a:r>
              <a:rPr lang="en-US" sz="700" dirty="0"/>
              <a:t> </a:t>
            </a:r>
            <a:r>
              <a:rPr lang="en-US" sz="700" dirty="0" smtClean="0"/>
              <a:t>  \   </a:t>
            </a:r>
            <a:r>
              <a:rPr lang="en-US" sz="700" dirty="0"/>
              <a:t>/</a:t>
            </a:r>
          </a:p>
          <a:p>
            <a:r>
              <a:rPr lang="en-US" sz="700" dirty="0"/>
              <a:t> </a:t>
            </a:r>
            <a:r>
              <a:rPr lang="en-US" sz="700" dirty="0" smtClean="0"/>
              <a:t>  (' </a:t>
            </a:r>
            <a:r>
              <a:rPr lang="en-US" sz="700" dirty="0"/>
              <a:t>')</a:t>
            </a:r>
          </a:p>
          <a:p>
            <a:r>
              <a:rPr lang="en-US" sz="700" dirty="0"/>
              <a:t>  </a:t>
            </a:r>
            <a:r>
              <a:rPr lang="en-US" sz="700" dirty="0" smtClean="0"/>
              <a:t> (</a:t>
            </a:r>
            <a:r>
              <a:rPr lang="en-US" sz="700" dirty="0"/>
              <a:t>U)</a:t>
            </a:r>
          </a:p>
        </p:txBody>
      </p:sp>
      <p:sp>
        <p:nvSpPr>
          <p:cNvPr id="20" name="Oval 19"/>
          <p:cNvSpPr/>
          <p:nvPr/>
        </p:nvSpPr>
        <p:spPr bwMode="auto">
          <a:xfrm>
            <a:off x="4700164" y="2193599"/>
            <a:ext cx="190399" cy="170098"/>
          </a:xfrm>
          <a:prstGeom prst="ellipse">
            <a:avLst/>
          </a:prstGeom>
          <a:noFill/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413996" y="1024167"/>
            <a:ext cx="8319826" cy="3140865"/>
            <a:chOff x="413996" y="1024167"/>
            <a:chExt cx="8319826" cy="3140865"/>
          </a:xfrm>
        </p:grpSpPr>
        <p:pic>
          <p:nvPicPr>
            <p:cNvPr id="7170" name="Picture 2" descr="image001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3999" y="1024167"/>
              <a:ext cx="8319823" cy="2033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23" name="Straight Arrow Connector 22"/>
            <p:cNvCxnSpPr/>
            <p:nvPr/>
          </p:nvCxnSpPr>
          <p:spPr bwMode="auto">
            <a:xfrm flipH="1">
              <a:off x="1752018" y="1982363"/>
              <a:ext cx="914453" cy="1659956"/>
            </a:xfrm>
            <a:prstGeom prst="straightConnector1">
              <a:avLst/>
            </a:prstGeom>
            <a:solidFill>
              <a:schemeClr val="bg1"/>
            </a:solidFill>
            <a:ln w="12700" cap="flat" cmpd="sng" algn="ctr">
              <a:solidFill>
                <a:srgbClr val="00B0F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5" name="Straight Arrow Connector 24"/>
            <p:cNvCxnSpPr/>
            <p:nvPr/>
          </p:nvCxnSpPr>
          <p:spPr bwMode="auto">
            <a:xfrm flipH="1">
              <a:off x="886479" y="1895974"/>
              <a:ext cx="1137768" cy="1426500"/>
            </a:xfrm>
            <a:prstGeom prst="straightConnector1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27" name="TextBox 26"/>
            <p:cNvSpPr txBox="1"/>
            <p:nvPr/>
          </p:nvSpPr>
          <p:spPr>
            <a:xfrm>
              <a:off x="413999" y="3322474"/>
              <a:ext cx="2643308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Aft>
                  <a:spcPts val="500"/>
                </a:spcAft>
              </a:pPr>
              <a:r>
                <a:rPr lang="it-IT" sz="1000" dirty="0" smtClean="0"/>
                <a:t>COW </a:t>
              </a:r>
              <a:r>
                <a:rPr lang="it-IT" sz="1000" dirty="0" err="1" smtClean="0"/>
                <a:t>based</a:t>
              </a:r>
              <a:r>
                <a:rPr lang="it-IT" sz="1000" dirty="0" smtClean="0"/>
                <a:t> </a:t>
              </a:r>
              <a:r>
                <a:rPr lang="it-IT" sz="1000" dirty="0" err="1" smtClean="0"/>
                <a:t>only</a:t>
              </a:r>
              <a:r>
                <a:rPr lang="it-IT" sz="1000" dirty="0" smtClean="0"/>
                <a:t> on </a:t>
              </a:r>
              <a:r>
                <a:rPr lang="it-IT" sz="1000" b="1" dirty="0" smtClean="0"/>
                <a:t>SORT_ACK</a:t>
              </a:r>
              <a:r>
                <a:rPr lang="it-IT" sz="1000" dirty="0" smtClean="0"/>
                <a:t> from </a:t>
              </a:r>
              <a:r>
                <a:rPr lang="it-IT" sz="1000" b="1" dirty="0" smtClean="0"/>
                <a:t>T1</a:t>
              </a:r>
              <a:endParaRPr lang="en-US" sz="1000" b="1" dirty="0" err="1" smtClean="0"/>
            </a:p>
          </p:txBody>
        </p:sp>
        <p:cxnSp>
          <p:nvCxnSpPr>
            <p:cNvPr id="30" name="Straight Arrow Connector 29"/>
            <p:cNvCxnSpPr>
              <a:stCxn id="20" idx="5"/>
            </p:cNvCxnSpPr>
            <p:nvPr/>
          </p:nvCxnSpPr>
          <p:spPr bwMode="auto">
            <a:xfrm>
              <a:off x="4862680" y="2338787"/>
              <a:ext cx="887887" cy="1068325"/>
            </a:xfrm>
            <a:prstGeom prst="straightConnector1">
              <a:avLst/>
            </a:prstGeom>
            <a:solidFill>
              <a:schemeClr val="bg1"/>
            </a:solidFill>
            <a:ln w="127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31" name="TextBox 30"/>
            <p:cNvSpPr txBox="1"/>
            <p:nvPr/>
          </p:nvSpPr>
          <p:spPr>
            <a:xfrm>
              <a:off x="5750567" y="3491751"/>
              <a:ext cx="1176571" cy="338554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Aft>
                  <a:spcPts val="500"/>
                </a:spcAft>
              </a:pPr>
              <a:r>
                <a:rPr lang="it-IT" sz="1000" dirty="0" smtClean="0"/>
                <a:t>MQ Channel </a:t>
              </a:r>
              <a:r>
                <a:rPr lang="it-IT" sz="1000" dirty="0" err="1" smtClean="0"/>
                <a:t>overload</a:t>
              </a:r>
              <a:endParaRPr lang="en-US" sz="1000" dirty="0" err="1" smtClean="0"/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13997" y="3642319"/>
              <a:ext cx="438136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Aft>
                  <a:spcPts val="500"/>
                </a:spcAft>
              </a:pPr>
              <a:r>
                <a:rPr lang="it-IT" sz="1000" dirty="0" smtClean="0"/>
                <a:t>COW </a:t>
              </a:r>
              <a:r>
                <a:rPr lang="it-IT" sz="1000" dirty="0" err="1" smtClean="0"/>
                <a:t>based</a:t>
              </a:r>
              <a:r>
                <a:rPr lang="it-IT" sz="1000" dirty="0" smtClean="0"/>
                <a:t> on </a:t>
              </a:r>
              <a:r>
                <a:rPr lang="it-IT" sz="1000" dirty="0" err="1" smtClean="0"/>
                <a:t>means</a:t>
              </a:r>
              <a:r>
                <a:rPr lang="it-IT" sz="1000" dirty="0" smtClean="0"/>
                <a:t> of </a:t>
              </a:r>
              <a:r>
                <a:rPr lang="it-IT" sz="1000" b="1" dirty="0" smtClean="0"/>
                <a:t>SORT_ACK SORT_INST </a:t>
              </a:r>
              <a:r>
                <a:rPr lang="it-IT" sz="1000" dirty="0" smtClean="0"/>
                <a:t>and </a:t>
              </a:r>
              <a:r>
                <a:rPr lang="it-IT" sz="1000" b="1" dirty="0" smtClean="0"/>
                <a:t>LP_DATA</a:t>
              </a:r>
              <a:r>
                <a:rPr lang="it-IT" sz="1000" dirty="0" smtClean="0"/>
                <a:t> from </a:t>
              </a:r>
              <a:r>
                <a:rPr lang="it-IT" sz="1000" b="1" dirty="0" smtClean="0"/>
                <a:t>T1 </a:t>
              </a:r>
              <a:endParaRPr lang="en-US" sz="1000" b="1" dirty="0" err="1" smtClean="0"/>
            </a:p>
          </p:txBody>
        </p:sp>
        <p:cxnSp>
          <p:nvCxnSpPr>
            <p:cNvPr id="42" name="Straight Arrow Connector 41"/>
            <p:cNvCxnSpPr/>
            <p:nvPr/>
          </p:nvCxnSpPr>
          <p:spPr bwMode="auto">
            <a:xfrm flipH="1">
              <a:off x="2135927" y="2363697"/>
              <a:ext cx="1138985" cy="1632058"/>
            </a:xfrm>
            <a:prstGeom prst="straightConnector1">
              <a:avLst/>
            </a:prstGeom>
            <a:solidFill>
              <a:schemeClr val="bg1"/>
            </a:solidFill>
            <a:ln w="12700" cap="flat" cmpd="sng" algn="ctr">
              <a:solidFill>
                <a:srgbClr val="CC99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45" name="TextBox 44"/>
            <p:cNvSpPr txBox="1"/>
            <p:nvPr/>
          </p:nvSpPr>
          <p:spPr>
            <a:xfrm>
              <a:off x="413996" y="3995755"/>
              <a:ext cx="438136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Aft>
                  <a:spcPts val="500"/>
                </a:spcAft>
              </a:pPr>
              <a:r>
                <a:rPr lang="it-IT" sz="1000" dirty="0" err="1" smtClean="0"/>
                <a:t>All</a:t>
              </a:r>
              <a:r>
                <a:rPr lang="it-IT" sz="1000" dirty="0" smtClean="0"/>
                <a:t> MQ </a:t>
              </a:r>
              <a:r>
                <a:rPr lang="it-IT" sz="1000" dirty="0" err="1" smtClean="0"/>
                <a:t>message</a:t>
              </a:r>
              <a:r>
                <a:rPr lang="it-IT" sz="1000" dirty="0" smtClean="0"/>
                <a:t> </a:t>
              </a:r>
              <a:r>
                <a:rPr lang="en-US" sz="1000" dirty="0"/>
                <a:t>exchanged</a:t>
              </a:r>
              <a:r>
                <a:rPr lang="it-IT" sz="1000" dirty="0" smtClean="0"/>
                <a:t> by </a:t>
              </a:r>
              <a:r>
                <a:rPr lang="it-IT" sz="1000" b="1" dirty="0" smtClean="0"/>
                <a:t>T2</a:t>
              </a:r>
              <a:r>
                <a:rPr lang="it-IT" sz="1000" dirty="0" smtClean="0"/>
                <a:t> to </a:t>
              </a:r>
              <a:r>
                <a:rPr lang="it-IT" sz="1000" b="1" dirty="0" smtClean="0"/>
                <a:t>T1</a:t>
              </a:r>
              <a:endParaRPr lang="en-US" sz="1000" b="1" dirty="0" err="1" smtClean="0"/>
            </a:p>
          </p:txBody>
        </p:sp>
      </p:grpSp>
    </p:spTree>
    <p:extLst>
      <p:ext uri="{BB962C8B-B14F-4D97-AF65-F5344CB8AC3E}">
        <p14:creationId xmlns:p14="http://schemas.microsoft.com/office/powerpoint/2010/main" val="1780081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it-IT" dirty="0" smtClean="0"/>
              <a:t>COW VIEWS Vs LAN </a:t>
            </a:r>
            <a:r>
              <a:rPr lang="it-IT" dirty="0" err="1"/>
              <a:t>Bandwidth</a:t>
            </a:r>
            <a:r>
              <a:rPr lang="it-IT" dirty="0"/>
              <a:t> </a:t>
            </a:r>
            <a:r>
              <a:rPr lang="it-IT" dirty="0" smtClean="0"/>
              <a:t>– Real </a:t>
            </a:r>
            <a:r>
              <a:rPr lang="it-IT" dirty="0" err="1" smtClean="0"/>
              <a:t>issue</a:t>
            </a:r>
            <a:endParaRPr lang="it-IT" dirty="0"/>
          </a:p>
        </p:txBody>
      </p:sp>
      <p:sp>
        <p:nvSpPr>
          <p:cNvPr id="7" name="Rectangle 6"/>
          <p:cNvSpPr/>
          <p:nvPr/>
        </p:nvSpPr>
        <p:spPr>
          <a:xfrm>
            <a:off x="8328713" y="67855"/>
            <a:ext cx="46359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 smtClean="0"/>
              <a:t>  _   _</a:t>
            </a:r>
            <a:endParaRPr lang="en-US" sz="700" dirty="0"/>
          </a:p>
          <a:p>
            <a:r>
              <a:rPr lang="en-US" sz="700" dirty="0"/>
              <a:t>((___))</a:t>
            </a:r>
          </a:p>
          <a:p>
            <a:r>
              <a:rPr lang="en-US" sz="700" dirty="0" smtClean="0"/>
              <a:t>  [ </a:t>
            </a:r>
            <a:r>
              <a:rPr lang="en-US" sz="700" dirty="0"/>
              <a:t>- - ]</a:t>
            </a:r>
          </a:p>
          <a:p>
            <a:r>
              <a:rPr lang="en-US" sz="700" dirty="0"/>
              <a:t> </a:t>
            </a:r>
            <a:r>
              <a:rPr lang="en-US" sz="700" dirty="0" smtClean="0"/>
              <a:t>  \   </a:t>
            </a:r>
            <a:r>
              <a:rPr lang="en-US" sz="700" dirty="0"/>
              <a:t>/</a:t>
            </a:r>
          </a:p>
          <a:p>
            <a:r>
              <a:rPr lang="en-US" sz="700" dirty="0"/>
              <a:t> </a:t>
            </a:r>
            <a:r>
              <a:rPr lang="en-US" sz="700" dirty="0" smtClean="0"/>
              <a:t>  (' </a:t>
            </a:r>
            <a:r>
              <a:rPr lang="en-US" sz="700" dirty="0"/>
              <a:t>')</a:t>
            </a:r>
          </a:p>
          <a:p>
            <a:r>
              <a:rPr lang="en-US" sz="700" dirty="0"/>
              <a:t>  </a:t>
            </a:r>
            <a:r>
              <a:rPr lang="en-US" sz="700" dirty="0" smtClean="0"/>
              <a:t> (</a:t>
            </a:r>
            <a:r>
              <a:rPr lang="en-US" sz="700" dirty="0"/>
              <a:t>U)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14000" y="1087049"/>
            <a:ext cx="6237742" cy="3247528"/>
            <a:chOff x="279399" y="558269"/>
            <a:chExt cx="11226800" cy="5656263"/>
          </a:xfrm>
        </p:grpSpPr>
        <p:pic>
          <p:nvPicPr>
            <p:cNvPr id="9" name="Picture 8"/>
            <p:cNvPicPr/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9399" y="558269"/>
              <a:ext cx="11226800" cy="565626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prstClr val="black"/>
                <a:srgbClr val="0070C0">
                  <a:tint val="45000"/>
                  <a:satMod val="400000"/>
                </a:srgbClr>
              </a:duotone>
            </a:blip>
            <a:stretch>
              <a:fillRect/>
            </a:stretch>
          </p:blipFill>
          <p:spPr>
            <a:xfrm>
              <a:off x="2337847" y="2281286"/>
              <a:ext cx="7956223" cy="2791246"/>
            </a:xfrm>
            <a:prstGeom prst="rect">
              <a:avLst/>
            </a:prstGeom>
            <a:effectLst>
              <a:outerShdw sx="1000" sy="1000" algn="ctr" rotWithShape="0">
                <a:srgbClr val="000000"/>
              </a:outerShdw>
            </a:effectLst>
          </p:spPr>
        </p:pic>
      </p:grpSp>
      <p:cxnSp>
        <p:nvCxnSpPr>
          <p:cNvPr id="6" name="Straight Arrow Connector 5"/>
          <p:cNvCxnSpPr/>
          <p:nvPr/>
        </p:nvCxnSpPr>
        <p:spPr bwMode="auto">
          <a:xfrm flipV="1">
            <a:off x="1624179" y="1228803"/>
            <a:ext cx="5403273" cy="1376096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rgbClr val="0070C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4" name="Straight Arrow Connector 13"/>
          <p:cNvCxnSpPr/>
          <p:nvPr/>
        </p:nvCxnSpPr>
        <p:spPr bwMode="auto">
          <a:xfrm flipV="1">
            <a:off x="3235569" y="1720269"/>
            <a:ext cx="3791883" cy="1219810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rgbClr val="0070C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5" name="Straight Arrow Connector 14"/>
          <p:cNvCxnSpPr/>
          <p:nvPr/>
        </p:nvCxnSpPr>
        <p:spPr bwMode="auto">
          <a:xfrm flipV="1">
            <a:off x="3025833" y="1473099"/>
            <a:ext cx="4001619" cy="1374010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rgbClr val="00B05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9" name="TextBox 18"/>
          <p:cNvSpPr txBox="1"/>
          <p:nvPr/>
        </p:nvSpPr>
        <p:spPr>
          <a:xfrm>
            <a:off x="7136152" y="1635631"/>
            <a:ext cx="117657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it-IT" sz="1000" dirty="0" err="1" smtClean="0"/>
              <a:t>Bandwidth</a:t>
            </a:r>
            <a:r>
              <a:rPr lang="it-IT" sz="1000" dirty="0" smtClean="0"/>
              <a:t> OUT</a:t>
            </a:r>
            <a:endParaRPr lang="en-US" sz="1000" dirty="0" err="1" smtClean="0"/>
          </a:p>
        </p:txBody>
      </p:sp>
      <p:sp>
        <p:nvSpPr>
          <p:cNvPr id="21" name="TextBox 20"/>
          <p:cNvSpPr txBox="1"/>
          <p:nvPr/>
        </p:nvSpPr>
        <p:spPr>
          <a:xfrm>
            <a:off x="7136153" y="1395032"/>
            <a:ext cx="1176571" cy="156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it-IT" sz="1000" dirty="0" err="1" smtClean="0"/>
              <a:t>Bandwidth</a:t>
            </a:r>
            <a:r>
              <a:rPr lang="it-IT" sz="1000" dirty="0" smtClean="0"/>
              <a:t> IN</a:t>
            </a:r>
            <a:endParaRPr lang="en-US" sz="1000" dirty="0" err="1" smtClean="0"/>
          </a:p>
        </p:txBody>
      </p:sp>
      <p:sp>
        <p:nvSpPr>
          <p:cNvPr id="22" name="TextBox 21"/>
          <p:cNvSpPr txBox="1"/>
          <p:nvPr/>
        </p:nvSpPr>
        <p:spPr>
          <a:xfrm>
            <a:off x="7136154" y="1156956"/>
            <a:ext cx="1176571" cy="156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it-IT" sz="1000" dirty="0" smtClean="0"/>
              <a:t>COW Chart</a:t>
            </a:r>
            <a:endParaRPr lang="en-US" sz="1000" dirty="0" err="1" smtClean="0"/>
          </a:p>
        </p:txBody>
      </p:sp>
      <p:sp>
        <p:nvSpPr>
          <p:cNvPr id="24" name="Oval 23"/>
          <p:cNvSpPr/>
          <p:nvPr/>
        </p:nvSpPr>
        <p:spPr bwMode="auto">
          <a:xfrm>
            <a:off x="2596129" y="3232217"/>
            <a:ext cx="159860" cy="259128"/>
          </a:xfrm>
          <a:prstGeom prst="ellipse">
            <a:avLst/>
          </a:prstGeom>
          <a:noFill/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cxnSp>
        <p:nvCxnSpPr>
          <p:cNvPr id="26" name="Straight Arrow Connector 25"/>
          <p:cNvCxnSpPr/>
          <p:nvPr/>
        </p:nvCxnSpPr>
        <p:spPr bwMode="auto">
          <a:xfrm flipV="1">
            <a:off x="2666467" y="2570574"/>
            <a:ext cx="4478781" cy="661643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9" name="TextBox 28"/>
          <p:cNvSpPr txBox="1"/>
          <p:nvPr/>
        </p:nvSpPr>
        <p:spPr>
          <a:xfrm>
            <a:off x="7271019" y="2298590"/>
            <a:ext cx="1176571" cy="507831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it-IT" sz="1000" dirty="0" err="1" smtClean="0"/>
              <a:t>Bandwidth</a:t>
            </a:r>
            <a:r>
              <a:rPr lang="it-IT" sz="1000" dirty="0" smtClean="0"/>
              <a:t> </a:t>
            </a:r>
            <a:r>
              <a:rPr lang="it-IT" sz="1000" dirty="0" err="1" smtClean="0"/>
              <a:t>overload</a:t>
            </a:r>
            <a:r>
              <a:rPr lang="it-IT" sz="1000" dirty="0" smtClean="0"/>
              <a:t> </a:t>
            </a:r>
            <a:r>
              <a:rPr lang="it-IT" sz="1000" dirty="0" err="1" smtClean="0"/>
              <a:t>caused</a:t>
            </a:r>
            <a:r>
              <a:rPr lang="it-IT" sz="1000" dirty="0" smtClean="0"/>
              <a:t> a MQ </a:t>
            </a:r>
            <a:r>
              <a:rPr lang="it-IT" sz="1000" dirty="0" err="1" smtClean="0"/>
              <a:t>channel</a:t>
            </a:r>
            <a:r>
              <a:rPr lang="it-IT" sz="1000" dirty="0" smtClean="0"/>
              <a:t> </a:t>
            </a:r>
            <a:r>
              <a:rPr lang="it-IT" sz="1000" dirty="0" err="1" smtClean="0"/>
              <a:t>interruption</a:t>
            </a:r>
            <a:endParaRPr lang="en-US" sz="1000" dirty="0" err="1" smtClean="0"/>
          </a:p>
        </p:txBody>
      </p:sp>
      <p:sp>
        <p:nvSpPr>
          <p:cNvPr id="41" name="Oval 40"/>
          <p:cNvSpPr/>
          <p:nvPr/>
        </p:nvSpPr>
        <p:spPr bwMode="auto">
          <a:xfrm>
            <a:off x="2735741" y="3232217"/>
            <a:ext cx="159860" cy="259128"/>
          </a:xfrm>
          <a:prstGeom prst="ellipse">
            <a:avLst/>
          </a:prstGeom>
          <a:noFill/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cxnSp>
        <p:nvCxnSpPr>
          <p:cNvPr id="43" name="Straight Arrow Connector 42"/>
          <p:cNvCxnSpPr>
            <a:stCxn id="41" idx="6"/>
          </p:cNvCxnSpPr>
          <p:nvPr/>
        </p:nvCxnSpPr>
        <p:spPr bwMode="auto">
          <a:xfrm>
            <a:off x="2895601" y="3361781"/>
            <a:ext cx="3965597" cy="246951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4" name="TextBox 43"/>
          <p:cNvSpPr txBox="1"/>
          <p:nvPr/>
        </p:nvSpPr>
        <p:spPr>
          <a:xfrm>
            <a:off x="7027452" y="3185539"/>
            <a:ext cx="1663706" cy="846386"/>
          </a:xfrm>
          <a:prstGeom prst="rect">
            <a:avLst/>
          </a:prstGeom>
          <a:ln>
            <a:solidFill>
              <a:schemeClr val="accent3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it-IT" sz="1000" dirty="0" err="1" smtClean="0"/>
              <a:t>During</a:t>
            </a:r>
            <a:r>
              <a:rPr lang="it-IT" sz="1000" dirty="0" smtClean="0"/>
              <a:t> </a:t>
            </a:r>
            <a:r>
              <a:rPr lang="it-IT" sz="1000" dirty="0" err="1" smtClean="0"/>
              <a:t>sorter</a:t>
            </a:r>
            <a:r>
              <a:rPr lang="it-IT" sz="1000" dirty="0" smtClean="0"/>
              <a:t> </a:t>
            </a:r>
            <a:r>
              <a:rPr lang="it-IT" sz="1000" dirty="0" err="1" smtClean="0"/>
              <a:t>operation</a:t>
            </a:r>
            <a:r>
              <a:rPr lang="it-IT" sz="1000" dirty="0" smtClean="0"/>
              <a:t>, due to single </a:t>
            </a:r>
            <a:r>
              <a:rPr lang="it-IT" sz="1000" dirty="0" err="1" smtClean="0"/>
              <a:t>thread</a:t>
            </a:r>
            <a:r>
              <a:rPr lang="it-IT" sz="1000" dirty="0" smtClean="0"/>
              <a:t> MQ client (T2), </a:t>
            </a:r>
            <a:r>
              <a:rPr lang="en-US" sz="1000" dirty="0"/>
              <a:t>a tail due to saturation has been </a:t>
            </a:r>
            <a:r>
              <a:rPr lang="en-US" sz="1000" dirty="0" smtClean="0"/>
              <a:t>created with no messages send to T1</a:t>
            </a:r>
          </a:p>
        </p:txBody>
      </p:sp>
    </p:spTree>
    <p:extLst>
      <p:ext uri="{BB962C8B-B14F-4D97-AF65-F5344CB8AC3E}">
        <p14:creationId xmlns:p14="http://schemas.microsoft.com/office/powerpoint/2010/main" val="2206030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4363" y="200823"/>
            <a:ext cx="7593806" cy="239547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851897" y="-8664"/>
            <a:ext cx="2005314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25" dirty="0"/>
              <a:t>Carpiano - 21 Novembre</a:t>
            </a:r>
            <a:endParaRPr lang="en-US" sz="825" dirty="0"/>
          </a:p>
        </p:txBody>
      </p:sp>
      <p:sp>
        <p:nvSpPr>
          <p:cNvPr id="6" name="TextBox 5"/>
          <p:cNvSpPr txBox="1"/>
          <p:nvPr/>
        </p:nvSpPr>
        <p:spPr>
          <a:xfrm>
            <a:off x="6851897" y="2579365"/>
            <a:ext cx="1947125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25" dirty="0"/>
              <a:t>Carpiano - 25 Novembre</a:t>
            </a:r>
            <a:endParaRPr lang="en-US" sz="825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4363" y="2737561"/>
            <a:ext cx="7593806" cy="2366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48759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052" y="2715110"/>
            <a:ext cx="7972426" cy="2382629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5053" y="221234"/>
            <a:ext cx="7972425" cy="2325053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7105434" y="1943"/>
            <a:ext cx="1348533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25" dirty="0"/>
              <a:t>Carpiano - 21 Novembre</a:t>
            </a:r>
            <a:endParaRPr lang="en-US" sz="825" dirty="0"/>
          </a:p>
        </p:txBody>
      </p:sp>
      <p:sp>
        <p:nvSpPr>
          <p:cNvPr id="6" name="TextBox 5"/>
          <p:cNvSpPr txBox="1"/>
          <p:nvPr/>
        </p:nvSpPr>
        <p:spPr>
          <a:xfrm>
            <a:off x="7105434" y="2463861"/>
            <a:ext cx="168296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25" dirty="0"/>
              <a:t>Carpiano - 25 Novembre</a:t>
            </a:r>
            <a:endParaRPr lang="en-US" sz="825" dirty="0"/>
          </a:p>
        </p:txBody>
      </p:sp>
    </p:spTree>
    <p:extLst>
      <p:ext uri="{BB962C8B-B14F-4D97-AF65-F5344CB8AC3E}">
        <p14:creationId xmlns:p14="http://schemas.microsoft.com/office/powerpoint/2010/main" val="10824583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6709040" y="25837"/>
            <a:ext cx="2142860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25" dirty="0"/>
              <a:t>Bologna - 21 Novembre</a:t>
            </a:r>
            <a:endParaRPr lang="en-US" sz="825" dirty="0"/>
          </a:p>
        </p:txBody>
      </p:sp>
      <p:sp>
        <p:nvSpPr>
          <p:cNvPr id="6" name="TextBox 5"/>
          <p:cNvSpPr txBox="1"/>
          <p:nvPr/>
        </p:nvSpPr>
        <p:spPr>
          <a:xfrm>
            <a:off x="6709040" y="2468695"/>
            <a:ext cx="2041260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25" dirty="0"/>
              <a:t>Bologna - 25 Novembre</a:t>
            </a:r>
            <a:endParaRPr lang="en-US" sz="825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936" y="246780"/>
            <a:ext cx="7300914" cy="229785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936" y="2739003"/>
            <a:ext cx="7593634" cy="2364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6580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062" y="200597"/>
            <a:ext cx="8145730" cy="234569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063" y="2742494"/>
            <a:ext cx="8145730" cy="239204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7386374" y="-5501"/>
            <a:ext cx="187192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25" dirty="0"/>
              <a:t>Bologna - 21 Novembre</a:t>
            </a:r>
            <a:endParaRPr lang="en-US" sz="825" dirty="0"/>
          </a:p>
        </p:txBody>
      </p:sp>
      <p:sp>
        <p:nvSpPr>
          <p:cNvPr id="6" name="TextBox 5"/>
          <p:cNvSpPr txBox="1"/>
          <p:nvPr/>
        </p:nvSpPr>
        <p:spPr>
          <a:xfrm>
            <a:off x="7386374" y="2516811"/>
            <a:ext cx="1943892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25" dirty="0"/>
              <a:t>Bologna - 25 Novembre</a:t>
            </a:r>
            <a:endParaRPr lang="en-US" sz="825" dirty="0"/>
          </a:p>
        </p:txBody>
      </p:sp>
    </p:spTree>
    <p:extLst>
      <p:ext uri="{BB962C8B-B14F-4D97-AF65-F5344CB8AC3E}">
        <p14:creationId xmlns:p14="http://schemas.microsoft.com/office/powerpoint/2010/main" val="2443041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1421453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it-IT" dirty="0" smtClean="0"/>
              <a:t>MQ – DATA </a:t>
            </a:r>
            <a:r>
              <a:rPr lang="en-US" dirty="0" smtClean="0"/>
              <a:t>Explained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0612110"/>
              </p:ext>
            </p:extLst>
          </p:nvPr>
        </p:nvGraphicFramePr>
        <p:xfrm>
          <a:off x="1111312" y="1136723"/>
          <a:ext cx="6921375" cy="2280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7670"/>
                <a:gridCol w="3409081"/>
                <a:gridCol w="1394624"/>
              </a:tblGrid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MQ Message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ata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ayload identification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it-IT" sz="1100" noProof="0" dirty="0" smtClean="0"/>
                        <a:t>NOTIFICATION</a:t>
                      </a:r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noProof="0" dirty="0" smtClean="0">
                          <a:solidFill>
                            <a:srgbClr val="000000"/>
                          </a:solidFill>
                        </a:rPr>
                        <a:t>Controllo CHECK_MSG del canale MQ da T1 a T2</a:t>
                      </a:r>
                      <a:endParaRPr lang="en-US" sz="800" b="0" noProof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\x0f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QUEST_MSG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noProof="0" dirty="0" smtClean="0">
                          <a:solidFill>
                            <a:srgbClr val="000000"/>
                          </a:solidFill>
                        </a:rPr>
                        <a:t>ACK per ASYNC_MESSAGE o NOTIFICATION da T2</a:t>
                      </a:r>
                      <a:r>
                        <a:rPr lang="it-IT" sz="800" b="0" baseline="0" noProof="0" dirty="0" smtClean="0">
                          <a:solidFill>
                            <a:srgbClr val="000000"/>
                          </a:solidFill>
                        </a:rPr>
                        <a:t> a T1</a:t>
                      </a:r>
                      <a:endParaRPr lang="en-US" sz="800" b="0" noProof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\x0e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QPUT_REPLY</a:t>
                      </a:r>
                      <a:endParaRPr lang="en-US" sz="11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noProof="0" dirty="0" smtClean="0">
                          <a:solidFill>
                            <a:srgbClr val="000000"/>
                          </a:solidFill>
                        </a:rPr>
                        <a:t>ACK per MQPUT da T1</a:t>
                      </a:r>
                      <a:r>
                        <a:rPr lang="it-IT" sz="800" b="0" baseline="0" noProof="0" dirty="0" smtClean="0">
                          <a:solidFill>
                            <a:srgbClr val="000000"/>
                          </a:solidFill>
                        </a:rPr>
                        <a:t> a T2</a:t>
                      </a:r>
                      <a:endParaRPr lang="en-US" sz="800" b="0" noProof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\x960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QPUT</a:t>
                      </a:r>
                      <a:endParaRPr lang="en-US" sz="11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noProof="0" dirty="0" smtClean="0">
                          <a:solidFill>
                            <a:srgbClr val="000000"/>
                          </a:solidFill>
                        </a:rPr>
                        <a:t>Contiene il</a:t>
                      </a:r>
                      <a:r>
                        <a:rPr lang="it-IT" sz="800" b="0" baseline="0" noProof="0" dirty="0" smtClean="0">
                          <a:solidFill>
                            <a:srgbClr val="000000"/>
                          </a:solidFill>
                        </a:rPr>
                        <a:t> messaggio con i dati da T2 a T1</a:t>
                      </a:r>
                      <a:endParaRPr lang="en-US" sz="800" b="0" noProof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\x86</a:t>
                      </a:r>
                      <a:endParaRPr lang="en-US" sz="1400" b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YNC_MESSA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noProof="0" dirty="0" smtClean="0">
                          <a:solidFill>
                            <a:srgbClr val="000000"/>
                          </a:solidFill>
                        </a:rPr>
                        <a:t>Contiene il</a:t>
                      </a:r>
                      <a:r>
                        <a:rPr lang="it-IT" sz="800" b="0" baseline="0" noProof="0" dirty="0" smtClean="0">
                          <a:solidFill>
                            <a:srgbClr val="000000"/>
                          </a:solidFill>
                        </a:rPr>
                        <a:t> messaggio con i dati da T1 a T2</a:t>
                      </a:r>
                      <a:endParaRPr lang="en-US" sz="800" b="0" noProof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\x0d</a:t>
                      </a: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83796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it-IT" dirty="0" smtClean="0"/>
              <a:t>MQ – MSG </a:t>
            </a:r>
            <a:r>
              <a:rPr lang="en-US" dirty="0" smtClean="0"/>
              <a:t>Explained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414000" y="923736"/>
            <a:ext cx="831600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smtClean="0"/>
              <a:t>&lt;MSG&gt;&lt;HEADER</a:t>
            </a:r>
            <a:r>
              <a:rPr lang="en-US" sz="1000" dirty="0"/>
              <a:t>&gt;&lt;HDSDID&gt;TIER2&lt;/HDSDID&gt;&lt;HDRCID&gt;TIER1&lt;/HDRCID&gt;&lt;HDMGTP&gt;SORT_RQST&lt;/HDMGTP&gt;&lt;HDMGID&gt;882004&lt;/HDMGID&gt;&lt;HDEVTM&gt;2019-11-29 17:06:40,381+01:00&lt;/HDEVTM&gt;&lt;/HEADER&gt;&lt;BODY&gt;&lt;VID&gt;2019112901009431&lt;/VID&gt;&lt;PAB&gt;&lt;AI-WEI&gt;193105&lt;/AI-WEI&gt;&lt;AI-DIM&gt;19700101010000.00|&lt;/AI-DIM&gt;&lt;DDWE&gt;0.64&lt;/DDWE&gt;&lt;LE&gt;23.5&lt;/LE&gt;&lt;WI&gt;18.0&lt;/WI&gt;&lt;HE&gt;7.6&lt;/HE&gt;&lt;LS-WEI&gt;Y&lt;/LS-WEI&gt;&lt;LS-DIM&gt;Y&lt;/LS-DIM&gt;&lt;IU&gt;IF01&lt;/IU&gt;&lt;IT&gt;2019-11-29 17:06:40,381+01:00&lt;/IT&gt;&lt;/PAB&gt;&lt;PIB&gt;&lt;RDID&gt;SORTSCAN&lt;/RDID&gt;&lt;RDST&gt;GR&lt;/RDST&gt;&lt;CDTP&gt;5&lt;/CDTP&gt;&lt;CDDT&gt;4766366500&lt;/CDDT&gt;&lt;/PIB&gt;&lt;PIB&gt;&lt;RDID&gt;SORTSCAN&lt;/RDID&gt;&lt;RDST&gt;GR&lt;/RDST&gt;&lt;CDTP&gt;3&lt;/CDTP&gt;&lt;CDDT&gt;2LIT80058+46000000&lt;/CDDT&gt;&lt;/PIB&gt;&lt;PIB&gt;&lt;RDID&gt;SORTSCAN&lt;/RDID&gt;&lt;RDST&gt;GR&lt;/RDST&gt;&lt;CDTP&gt;1&lt;/CDTP&gt;&lt;CDDT&gt;JJD014600007435356581&lt;/CDDT&gt;&lt;/PIB&gt;&lt;/BODY</a:t>
            </a:r>
            <a:r>
              <a:rPr lang="en-US" sz="1000" dirty="0" smtClean="0"/>
              <a:t>&gt;</a:t>
            </a:r>
            <a:r>
              <a:rPr lang="en-US" sz="1000" dirty="0"/>
              <a:t> </a:t>
            </a:r>
            <a:r>
              <a:rPr lang="en-US" sz="1000" dirty="0" smtClean="0"/>
              <a:t>&lt;/MSG</a:t>
            </a:r>
            <a:r>
              <a:rPr lang="en-US" sz="1000" dirty="0"/>
              <a:t>&gt;&lt;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5609453"/>
              </p:ext>
            </p:extLst>
          </p:nvPr>
        </p:nvGraphicFramePr>
        <p:xfrm>
          <a:off x="414001" y="2087881"/>
          <a:ext cx="8315998" cy="2270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3711"/>
                <a:gridCol w="2303711"/>
                <a:gridCol w="3708576"/>
              </a:tblGrid>
              <a:tr h="21209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MQ Message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ignificato</a:t>
                      </a:r>
                      <a:r>
                        <a:rPr lang="it-IT" sz="1100" b="1" kern="1200" baseline="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della sigla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it-IT" sz="1100" noProof="0" dirty="0" smtClean="0"/>
                        <a:t>HD</a:t>
                      </a:r>
                      <a:r>
                        <a:rPr lang="it-IT" sz="1100" b="1" noProof="0" dirty="0" smtClean="0"/>
                        <a:t>MGTP</a:t>
                      </a:r>
                      <a:endParaRPr lang="en-US" sz="1100" b="1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noProof="0" dirty="0" smtClean="0"/>
                        <a:t>Message</a:t>
                      </a:r>
                      <a:r>
                        <a:rPr lang="en-US" sz="1100" b="0" baseline="0" noProof="0" dirty="0" smtClean="0"/>
                        <a:t> Typology</a:t>
                      </a:r>
                      <a:endParaRPr lang="en-US" sz="1100" b="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noProof="0" dirty="0" err="1" smtClean="0">
                          <a:solidFill>
                            <a:srgbClr val="000000"/>
                          </a:solidFill>
                        </a:rPr>
                        <a:t>Tipologia</a:t>
                      </a:r>
                      <a:r>
                        <a:rPr lang="en-US" sz="800" b="1" noProof="0" dirty="0" smtClean="0">
                          <a:solidFill>
                            <a:srgbClr val="000000"/>
                          </a:solidFill>
                        </a:rPr>
                        <a:t> di </a:t>
                      </a:r>
                      <a:r>
                        <a:rPr lang="en-US" sz="800" b="1" noProof="0" dirty="0" err="1" smtClean="0">
                          <a:solidFill>
                            <a:srgbClr val="000000"/>
                          </a:solidFill>
                        </a:rPr>
                        <a:t>messagio</a:t>
                      </a:r>
                      <a:r>
                        <a:rPr lang="en-US" sz="800" b="1" noProof="0" dirty="0" smtClean="0">
                          <a:solidFill>
                            <a:srgbClr val="000000"/>
                          </a:solidFill>
                        </a:rPr>
                        <a:t>: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SORT_RSLT, SORT_ACK, , SORT_RQST, SORT_INST, ITEM_DATA, ITEM_RECR, LP_INST, LP_RSLT, T1_STATUS, HEARTBEAT</a:t>
                      </a:r>
                      <a:endParaRPr lang="en-US" sz="800" b="1" noProof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2028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HDEV</a:t>
                      </a:r>
                      <a:r>
                        <a:rPr lang="en-US" sz="1100" b="1" dirty="0" smtClean="0"/>
                        <a:t>TM</a:t>
                      </a:r>
                      <a:endParaRPr lang="en-US" sz="11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valuated Ti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noProof="0" dirty="0" smtClean="0">
                          <a:solidFill>
                            <a:srgbClr val="000000"/>
                          </a:solidFill>
                        </a:rPr>
                        <a:t>Timestamp </a:t>
                      </a:r>
                      <a:r>
                        <a:rPr lang="en-US" sz="800" b="0" noProof="0" dirty="0" err="1" smtClean="0">
                          <a:solidFill>
                            <a:srgbClr val="000000"/>
                          </a:solidFill>
                        </a:rPr>
                        <a:t>dell’istruzione</a:t>
                      </a:r>
                      <a:r>
                        <a:rPr lang="en-US" sz="800" b="0" noProof="0" dirty="0" smtClean="0">
                          <a:solidFill>
                            <a:srgbClr val="000000"/>
                          </a:solidFill>
                        </a:rPr>
                        <a:t> ( a </a:t>
                      </a:r>
                      <a:r>
                        <a:rPr lang="en-US" sz="800" b="0" noProof="0" dirty="0" err="1" smtClean="0">
                          <a:solidFill>
                            <a:srgbClr val="000000"/>
                          </a:solidFill>
                        </a:rPr>
                        <a:t>livello</a:t>
                      </a:r>
                      <a:r>
                        <a:rPr lang="en-US" sz="800" b="0" noProof="0" dirty="0" smtClean="0">
                          <a:solidFill>
                            <a:srgbClr val="000000"/>
                          </a:solidFill>
                        </a:rPr>
                        <a:t> di </a:t>
                      </a:r>
                      <a:r>
                        <a:rPr lang="en-US" sz="800" b="0" noProof="0" dirty="0" err="1" smtClean="0">
                          <a:solidFill>
                            <a:srgbClr val="000000"/>
                          </a:solidFill>
                        </a:rPr>
                        <a:t>messaggio</a:t>
                      </a:r>
                      <a:r>
                        <a:rPr lang="en-US" sz="800" b="0" noProof="0" dirty="0" smtClean="0">
                          <a:solidFill>
                            <a:srgbClr val="000000"/>
                          </a:solidFill>
                        </a:rPr>
                        <a:t> MQ)</a:t>
                      </a:r>
                    </a:p>
                  </a:txBody>
                  <a:tcPr anchor="ctr"/>
                </a:tc>
              </a:tr>
              <a:tr h="23473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HD</a:t>
                      </a:r>
                      <a:r>
                        <a:rPr lang="en-US" sz="1100" b="1" dirty="0" smtClean="0"/>
                        <a:t>SD</a:t>
                      </a:r>
                      <a:r>
                        <a:rPr lang="en-US" sz="1100" dirty="0" smtClean="0"/>
                        <a:t>ID</a:t>
                      </a:r>
                      <a:endParaRPr lang="en-US" sz="11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nder</a:t>
                      </a:r>
                      <a:endParaRPr lang="en-US" sz="11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noProof="0" dirty="0" smtClean="0">
                          <a:solidFill>
                            <a:srgbClr val="000000"/>
                          </a:solidFill>
                        </a:rPr>
                        <a:t>Tier</a:t>
                      </a:r>
                      <a:r>
                        <a:rPr lang="en-US" sz="800" b="0" baseline="0" noProof="0" dirty="0" smtClean="0">
                          <a:solidFill>
                            <a:srgbClr val="000000"/>
                          </a:solidFill>
                        </a:rPr>
                        <a:t> «sender» del </a:t>
                      </a:r>
                      <a:r>
                        <a:rPr lang="en-US" sz="800" b="0" baseline="0" noProof="0" dirty="0" err="1" smtClean="0">
                          <a:solidFill>
                            <a:srgbClr val="000000"/>
                          </a:solidFill>
                        </a:rPr>
                        <a:t>messaggio</a:t>
                      </a:r>
                      <a:endParaRPr lang="en-US" sz="800" b="0" noProof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2084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HD</a:t>
                      </a:r>
                      <a:r>
                        <a:rPr lang="en-US" sz="1100" b="1" dirty="0" smtClean="0"/>
                        <a:t>RC</a:t>
                      </a:r>
                      <a:r>
                        <a:rPr lang="en-US" sz="1100" dirty="0" smtClean="0"/>
                        <a:t>ID</a:t>
                      </a:r>
                      <a:endParaRPr lang="en-US" sz="11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ceiver</a:t>
                      </a:r>
                      <a:endParaRPr lang="en-US" sz="11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noProof="0" dirty="0" smtClean="0">
                          <a:solidFill>
                            <a:srgbClr val="000000"/>
                          </a:solidFill>
                        </a:rPr>
                        <a:t>Tier «receiver» del </a:t>
                      </a:r>
                      <a:r>
                        <a:rPr lang="en-US" sz="800" b="0" noProof="0" dirty="0" err="1" smtClean="0">
                          <a:solidFill>
                            <a:srgbClr val="000000"/>
                          </a:solidFill>
                        </a:rPr>
                        <a:t>messagio</a:t>
                      </a:r>
                      <a:endParaRPr lang="en-US" sz="800" b="0" noProof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2439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HD</a:t>
                      </a:r>
                      <a:r>
                        <a:rPr lang="en-US" sz="1100" b="1" dirty="0" smtClean="0"/>
                        <a:t>MG</a:t>
                      </a:r>
                      <a:r>
                        <a:rPr lang="en-US" sz="1100" dirty="0" smtClean="0"/>
                        <a:t>ID</a:t>
                      </a:r>
                      <a:endParaRPr lang="en-US" sz="11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ssage ID</a:t>
                      </a:r>
                      <a:endParaRPr lang="en-US" sz="11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noProof="0" dirty="0" smtClean="0">
                          <a:solidFill>
                            <a:srgbClr val="000000"/>
                          </a:solidFill>
                        </a:rPr>
                        <a:t>ID univoco del messaggio</a:t>
                      </a:r>
                      <a:endParaRPr lang="en-US" sz="800" b="0" noProof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2439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ID</a:t>
                      </a:r>
                      <a:endParaRPr lang="en-US" sz="11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irtual ID</a:t>
                      </a:r>
                      <a:endParaRPr lang="en-US" sz="11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noProof="0" dirty="0" smtClean="0">
                          <a:solidFill>
                            <a:srgbClr val="000000"/>
                          </a:solidFill>
                        </a:rPr>
                        <a:t>ID che identifica il collo</a:t>
                      </a:r>
                      <a:endParaRPr lang="en-US" sz="800" b="0" noProof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2439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P</a:t>
                      </a: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_DA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bel Printer Da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noProof="0" dirty="0" smtClean="0">
                          <a:solidFill>
                            <a:srgbClr val="000000"/>
                          </a:solidFill>
                        </a:rPr>
                        <a:t>Dati</a:t>
                      </a:r>
                      <a:r>
                        <a:rPr lang="it-IT" sz="800" b="0" baseline="0" noProof="0" dirty="0" smtClean="0">
                          <a:solidFill>
                            <a:srgbClr val="000000"/>
                          </a:solidFill>
                        </a:rPr>
                        <a:t> dell’etichetta da stampare</a:t>
                      </a:r>
                      <a:endParaRPr lang="en-US" sz="800" b="0" noProof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5344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en-US" dirty="0" smtClean="0"/>
              <a:t>MQ – MSG Explained – CUSTOMER data identificatio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1003600"/>
              </p:ext>
            </p:extLst>
          </p:nvPr>
        </p:nvGraphicFramePr>
        <p:xfrm>
          <a:off x="2268288" y="2354735"/>
          <a:ext cx="4607422" cy="1666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3711"/>
                <a:gridCol w="2303711"/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1" kern="1200" noProof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arcode</a:t>
                      </a:r>
                      <a:r>
                        <a:rPr lang="it-IT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1100" b="1" kern="1200" noProof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Type</a:t>
                      </a:r>
                      <a:r>
                        <a:rPr lang="it-IT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100" dirty="0" smtClean="0"/>
                        <a:t>CD</a:t>
                      </a:r>
                      <a:r>
                        <a:rPr lang="en-US" sz="1100" b="1" dirty="0" smtClean="0"/>
                        <a:t>TP</a:t>
                      </a:r>
                      <a:r>
                        <a:rPr lang="en-US" sz="1100" b="1" kern="1200" noProof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en-US" sz="1100" b="1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orrispondenza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it-IT" sz="1100" noProof="0" dirty="0" smtClean="0"/>
                        <a:t>1 e 2</a:t>
                      </a:r>
                      <a:endParaRPr lang="en-US" sz="1100" b="1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>
                        <a:spcAft>
                          <a:spcPts val="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it-IT" sz="1100" dirty="0" err="1" smtClean="0"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ieceID</a:t>
                      </a:r>
                      <a:endParaRPr lang="en-US" sz="1100" dirty="0"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2028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5</a:t>
                      </a:r>
                      <a:endParaRPr lang="en-US" sz="11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WB</a:t>
                      </a:r>
                    </a:p>
                  </a:txBody>
                  <a:tcPr anchor="ctr"/>
                </a:tc>
              </a:tr>
              <a:tr h="23473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7</a:t>
                      </a:r>
                      <a:endParaRPr lang="en-US" sz="11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TEBIN</a:t>
                      </a:r>
                      <a:endParaRPr lang="en-US" sz="11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2084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8</a:t>
                      </a:r>
                      <a:endParaRPr lang="en-US" sz="11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UID</a:t>
                      </a:r>
                      <a:endParaRPr lang="en-US" sz="11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2439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9</a:t>
                      </a:r>
                      <a:endParaRPr lang="en-US" sz="11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ustomerID</a:t>
                      </a:r>
                      <a:endParaRPr lang="en-US" sz="11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6379434"/>
              </p:ext>
            </p:extLst>
          </p:nvPr>
        </p:nvGraphicFramePr>
        <p:xfrm>
          <a:off x="414000" y="1088715"/>
          <a:ext cx="8315998" cy="975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3711"/>
                <a:gridCol w="2303711"/>
                <a:gridCol w="3708576"/>
              </a:tblGrid>
              <a:tr h="21209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MQ Message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ignificato</a:t>
                      </a:r>
                      <a:r>
                        <a:rPr lang="it-IT" sz="1100" b="1" kern="1200" baseline="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della sigla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CD</a:t>
                      </a:r>
                      <a:r>
                        <a:rPr lang="en-US" sz="1100" b="1" dirty="0" smtClean="0"/>
                        <a:t>TP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baseline="0" noProof="0" dirty="0" smtClean="0"/>
                        <a:t>Code Typology</a:t>
                      </a:r>
                      <a:endParaRPr lang="en-US" sz="1100" b="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noProof="0" dirty="0" err="1" smtClean="0">
                          <a:solidFill>
                            <a:srgbClr val="000000"/>
                          </a:solidFill>
                        </a:rPr>
                        <a:t>Tipologia</a:t>
                      </a:r>
                      <a:r>
                        <a:rPr lang="en-US" sz="800" b="1" noProof="0" dirty="0" smtClean="0">
                          <a:solidFill>
                            <a:srgbClr val="000000"/>
                          </a:solidFill>
                        </a:rPr>
                        <a:t> di barcode: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AWB, </a:t>
                      </a:r>
                      <a:r>
                        <a:rPr lang="en-US" sz="800" dirty="0" err="1" smtClean="0"/>
                        <a:t>PieceID</a:t>
                      </a:r>
                      <a:r>
                        <a:rPr lang="en-US" sz="800" dirty="0" smtClean="0"/>
                        <a:t>, T</a:t>
                      </a:r>
                      <a:r>
                        <a:rPr lang="it-IT" sz="800" dirty="0" err="1" smtClean="0"/>
                        <a:t>otebin</a:t>
                      </a:r>
                      <a:r>
                        <a:rPr lang="it-IT" sz="800" dirty="0" smtClean="0"/>
                        <a:t>, HUID, </a:t>
                      </a:r>
                      <a:r>
                        <a:rPr lang="it-IT" sz="800" dirty="0" err="1" smtClean="0"/>
                        <a:t>CustomerID</a:t>
                      </a:r>
                      <a:r>
                        <a:rPr lang="it-IT" sz="800" dirty="0" smtClean="0"/>
                        <a:t> (ecc..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noProof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2028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CD</a:t>
                      </a:r>
                      <a:r>
                        <a:rPr lang="en-US" sz="1100" b="1" dirty="0" smtClean="0"/>
                        <a:t>DT</a:t>
                      </a:r>
                      <a:endParaRPr lang="en-US" sz="11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de Da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noProof="0" dirty="0" smtClean="0">
                          <a:solidFill>
                            <a:srgbClr val="000000"/>
                          </a:solidFill>
                        </a:rPr>
                        <a:t>Barcode data</a:t>
                      </a: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9812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it-IT" dirty="0" smtClean="0"/>
              <a:t>High Level Communications Schema – TIER 1 / TIER 2</a:t>
            </a:r>
            <a:endParaRPr lang="it-IT" dirty="0"/>
          </a:p>
        </p:txBody>
      </p:sp>
      <p:grpSp>
        <p:nvGrpSpPr>
          <p:cNvPr id="125" name="Group 124"/>
          <p:cNvGrpSpPr/>
          <p:nvPr/>
        </p:nvGrpSpPr>
        <p:grpSpPr>
          <a:xfrm>
            <a:off x="759193" y="1144837"/>
            <a:ext cx="7545114" cy="3076108"/>
            <a:chOff x="1033736" y="1417887"/>
            <a:chExt cx="7545114" cy="3076108"/>
          </a:xfrm>
        </p:grpSpPr>
        <p:cxnSp>
          <p:nvCxnSpPr>
            <p:cNvPr id="103" name="Straight Arrow Connector 102"/>
            <p:cNvCxnSpPr>
              <a:stCxn id="5" idx="1"/>
              <a:endCxn id="5" idx="3"/>
            </p:cNvCxnSpPr>
            <p:nvPr/>
          </p:nvCxnSpPr>
          <p:spPr bwMode="auto">
            <a:xfrm>
              <a:off x="4331078" y="1551695"/>
              <a:ext cx="2033556" cy="0"/>
            </a:xfrm>
            <a:prstGeom prst="straightConnector1">
              <a:avLst/>
            </a:prstGeom>
            <a:solidFill>
              <a:schemeClr val="bg1"/>
            </a:solidFill>
            <a:ln w="349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98" name="Straight Arrow Connector 97"/>
            <p:cNvCxnSpPr>
              <a:stCxn id="76" idx="3"/>
              <a:endCxn id="76" idx="1"/>
            </p:cNvCxnSpPr>
            <p:nvPr/>
          </p:nvCxnSpPr>
          <p:spPr bwMode="auto">
            <a:xfrm flipH="1">
              <a:off x="4331078" y="4363190"/>
              <a:ext cx="2033556" cy="0"/>
            </a:xfrm>
            <a:prstGeom prst="straightConnector1">
              <a:avLst/>
            </a:prstGeom>
            <a:solidFill>
              <a:schemeClr val="bg1"/>
            </a:solidFill>
            <a:ln w="34925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6" name="Rectangle 5"/>
            <p:cNvSpPr/>
            <p:nvPr/>
          </p:nvSpPr>
          <p:spPr bwMode="auto">
            <a:xfrm>
              <a:off x="3883501" y="1773261"/>
              <a:ext cx="4180251" cy="1754647"/>
            </a:xfrm>
            <a:prstGeom prst="rect">
              <a:avLst/>
            </a:prstGeom>
            <a:noFill/>
            <a:ln w="12700" cap="flat" cmpd="sng" algn="ctr">
              <a:solidFill>
                <a:srgbClr val="00B050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grpSp>
          <p:nvGrpSpPr>
            <p:cNvPr id="56" name="Group 55"/>
            <p:cNvGrpSpPr/>
            <p:nvPr/>
          </p:nvGrpSpPr>
          <p:grpSpPr>
            <a:xfrm rot="5400000">
              <a:off x="7638110" y="2805302"/>
              <a:ext cx="1484376" cy="397105"/>
              <a:chOff x="2088107" y="1339651"/>
              <a:chExt cx="873457" cy="397105"/>
            </a:xfrm>
          </p:grpSpPr>
          <p:sp>
            <p:nvSpPr>
              <p:cNvPr id="57" name="Left-Right Arrow 56"/>
              <p:cNvSpPr/>
              <p:nvPr/>
            </p:nvSpPr>
            <p:spPr bwMode="auto">
              <a:xfrm>
                <a:off x="2088107" y="1446663"/>
                <a:ext cx="873457" cy="184244"/>
              </a:xfrm>
              <a:prstGeom prst="leftRightArrow">
                <a:avLst/>
              </a:prstGeom>
              <a:solidFill>
                <a:schemeClr val="bg2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953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 rot="16200000">
                <a:off x="2322953" y="1462556"/>
                <a:ext cx="397105" cy="15129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500"/>
                  </a:spcAft>
                </a:pPr>
                <a:r>
                  <a:rPr lang="it-IT" sz="1200" dirty="0" smtClean="0"/>
                  <a:t>T5</a:t>
                </a:r>
                <a:endParaRPr lang="en-US" sz="1200" dirty="0" err="1" smtClean="0"/>
              </a:p>
            </p:txBody>
          </p:sp>
        </p:grpSp>
        <p:grpSp>
          <p:nvGrpSpPr>
            <p:cNvPr id="59" name="Group 58"/>
            <p:cNvGrpSpPr/>
            <p:nvPr/>
          </p:nvGrpSpPr>
          <p:grpSpPr>
            <a:xfrm>
              <a:off x="3890732" y="3643055"/>
              <a:ext cx="3083986" cy="203133"/>
              <a:chOff x="2090150" y="1436637"/>
              <a:chExt cx="871414" cy="203133"/>
            </a:xfrm>
          </p:grpSpPr>
          <p:sp>
            <p:nvSpPr>
              <p:cNvPr id="60" name="Left-Right Arrow 59"/>
              <p:cNvSpPr/>
              <p:nvPr/>
            </p:nvSpPr>
            <p:spPr bwMode="auto">
              <a:xfrm>
                <a:off x="2090150" y="1446663"/>
                <a:ext cx="871414" cy="184244"/>
              </a:xfrm>
              <a:prstGeom prst="leftRightArrow">
                <a:avLst/>
              </a:prstGeom>
              <a:solidFill>
                <a:schemeClr val="bg2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953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61" name="TextBox 60"/>
              <p:cNvSpPr txBox="1"/>
              <p:nvPr/>
            </p:nvSpPr>
            <p:spPr>
              <a:xfrm>
                <a:off x="2361226" y="1436637"/>
                <a:ext cx="320559" cy="203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500"/>
                  </a:spcAft>
                </a:pPr>
                <a:r>
                  <a:rPr lang="it-IT" sz="1200" dirty="0" smtClean="0"/>
                  <a:t>T7</a:t>
                </a:r>
                <a:endParaRPr lang="en-US" sz="1200" dirty="0" err="1" smtClean="0"/>
              </a:p>
            </p:txBody>
          </p:sp>
        </p:grpSp>
        <p:grpSp>
          <p:nvGrpSpPr>
            <p:cNvPr id="62" name="Group 61"/>
            <p:cNvGrpSpPr/>
            <p:nvPr/>
          </p:nvGrpSpPr>
          <p:grpSpPr>
            <a:xfrm>
              <a:off x="3047551" y="3643055"/>
              <a:ext cx="835244" cy="203133"/>
              <a:chOff x="2102374" y="1436637"/>
              <a:chExt cx="859190" cy="203133"/>
            </a:xfrm>
          </p:grpSpPr>
          <p:sp>
            <p:nvSpPr>
              <p:cNvPr id="63" name="Left-Right Arrow 62"/>
              <p:cNvSpPr/>
              <p:nvPr/>
            </p:nvSpPr>
            <p:spPr bwMode="auto">
              <a:xfrm>
                <a:off x="2102374" y="1446663"/>
                <a:ext cx="859190" cy="184244"/>
              </a:xfrm>
              <a:prstGeom prst="leftRightArrow">
                <a:avLst/>
              </a:prstGeom>
              <a:solidFill>
                <a:schemeClr val="bg2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953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2361226" y="1436637"/>
                <a:ext cx="320559" cy="203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500"/>
                  </a:spcAft>
                </a:pPr>
                <a:r>
                  <a:rPr lang="it-IT" sz="1200" dirty="0" smtClean="0"/>
                  <a:t>T8</a:t>
                </a:r>
                <a:endParaRPr lang="en-US" sz="1200" dirty="0" err="1" smtClean="0"/>
              </a:p>
            </p:txBody>
          </p:sp>
        </p:grpSp>
        <p:grpSp>
          <p:nvGrpSpPr>
            <p:cNvPr id="65" name="Group 64"/>
            <p:cNvGrpSpPr/>
            <p:nvPr/>
          </p:nvGrpSpPr>
          <p:grpSpPr>
            <a:xfrm>
              <a:off x="2274288" y="3643055"/>
              <a:ext cx="759393" cy="203133"/>
              <a:chOff x="2088107" y="1436637"/>
              <a:chExt cx="873457" cy="203133"/>
            </a:xfrm>
          </p:grpSpPr>
          <p:sp>
            <p:nvSpPr>
              <p:cNvPr id="66" name="Left-Right Arrow 65"/>
              <p:cNvSpPr/>
              <p:nvPr/>
            </p:nvSpPr>
            <p:spPr bwMode="auto">
              <a:xfrm>
                <a:off x="2088107" y="1446663"/>
                <a:ext cx="873457" cy="184244"/>
              </a:xfrm>
              <a:prstGeom prst="leftRightArrow">
                <a:avLst/>
              </a:prstGeom>
              <a:solidFill>
                <a:schemeClr val="bg2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953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67" name="TextBox 66"/>
              <p:cNvSpPr txBox="1"/>
              <p:nvPr/>
            </p:nvSpPr>
            <p:spPr>
              <a:xfrm>
                <a:off x="2361226" y="1436637"/>
                <a:ext cx="320559" cy="203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500"/>
                  </a:spcAft>
                </a:pPr>
                <a:r>
                  <a:rPr lang="it-IT" sz="1200" dirty="0" smtClean="0"/>
                  <a:t>T9</a:t>
                </a:r>
                <a:endParaRPr lang="en-US" sz="1200" dirty="0" err="1" smtClean="0"/>
              </a:p>
            </p:txBody>
          </p:sp>
        </p:grpSp>
        <p:grpSp>
          <p:nvGrpSpPr>
            <p:cNvPr id="71" name="Group 70"/>
            <p:cNvGrpSpPr/>
            <p:nvPr/>
          </p:nvGrpSpPr>
          <p:grpSpPr>
            <a:xfrm>
              <a:off x="6974718" y="3643055"/>
              <a:ext cx="837953" cy="203133"/>
              <a:chOff x="2088107" y="1436637"/>
              <a:chExt cx="873457" cy="203133"/>
            </a:xfrm>
          </p:grpSpPr>
          <p:sp>
            <p:nvSpPr>
              <p:cNvPr id="72" name="Left-Right Arrow 71"/>
              <p:cNvSpPr/>
              <p:nvPr/>
            </p:nvSpPr>
            <p:spPr bwMode="auto">
              <a:xfrm>
                <a:off x="2088107" y="1446663"/>
                <a:ext cx="873457" cy="184244"/>
              </a:xfrm>
              <a:prstGeom prst="leftRightArrow">
                <a:avLst/>
              </a:prstGeom>
              <a:solidFill>
                <a:schemeClr val="bg2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953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73" name="TextBox 72"/>
              <p:cNvSpPr txBox="1"/>
              <p:nvPr/>
            </p:nvSpPr>
            <p:spPr>
              <a:xfrm>
                <a:off x="2361226" y="1436637"/>
                <a:ext cx="320559" cy="203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500"/>
                  </a:spcAft>
                </a:pPr>
                <a:r>
                  <a:rPr lang="it-IT" sz="1200" dirty="0" smtClean="0"/>
                  <a:t>T6</a:t>
                </a:r>
                <a:endParaRPr lang="en-US" sz="1200" dirty="0" err="1" smtClean="0"/>
              </a:p>
            </p:txBody>
          </p:sp>
        </p:grpSp>
        <p:cxnSp>
          <p:nvCxnSpPr>
            <p:cNvPr id="9" name="Straight Connector 8"/>
            <p:cNvCxnSpPr>
              <a:stCxn id="81" idx="6"/>
              <a:endCxn id="77" idx="2"/>
            </p:cNvCxnSpPr>
            <p:nvPr/>
          </p:nvCxnSpPr>
          <p:spPr bwMode="auto">
            <a:xfrm>
              <a:off x="3121500" y="1996403"/>
              <a:ext cx="677524" cy="1551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3" name="Straight Connector 82"/>
            <p:cNvCxnSpPr>
              <a:stCxn id="78" idx="6"/>
              <a:endCxn id="82" idx="2"/>
            </p:cNvCxnSpPr>
            <p:nvPr/>
          </p:nvCxnSpPr>
          <p:spPr bwMode="auto">
            <a:xfrm>
              <a:off x="3961178" y="3510112"/>
              <a:ext cx="3775542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116" name="Group 115"/>
            <p:cNvGrpSpPr/>
            <p:nvPr/>
          </p:nvGrpSpPr>
          <p:grpSpPr>
            <a:xfrm>
              <a:off x="1033736" y="1417887"/>
              <a:ext cx="7215934" cy="3076108"/>
              <a:chOff x="1033736" y="1328987"/>
              <a:chExt cx="7215934" cy="3076108"/>
            </a:xfrm>
          </p:grpSpPr>
          <p:grpSp>
            <p:nvGrpSpPr>
              <p:cNvPr id="53" name="Group 52"/>
              <p:cNvGrpSpPr/>
              <p:nvPr/>
            </p:nvGrpSpPr>
            <p:grpSpPr>
              <a:xfrm>
                <a:off x="2274288" y="2069755"/>
                <a:ext cx="759392" cy="203133"/>
                <a:chOff x="2133046" y="1361573"/>
                <a:chExt cx="828518" cy="203133"/>
              </a:xfrm>
            </p:grpSpPr>
            <p:sp>
              <p:nvSpPr>
                <p:cNvPr id="54" name="Left-Right Arrow 53"/>
                <p:cNvSpPr/>
                <p:nvPr/>
              </p:nvSpPr>
              <p:spPr bwMode="auto">
                <a:xfrm>
                  <a:off x="2133046" y="1367221"/>
                  <a:ext cx="828518" cy="184244"/>
                </a:xfrm>
                <a:prstGeom prst="leftRightArrow">
                  <a:avLst/>
                </a:prstGeom>
                <a:solidFill>
                  <a:schemeClr val="bg2"/>
                </a:solidFill>
                <a:ln w="127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2000" tIns="36000" rIns="36000" bIns="3600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95363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sz="1200" b="0" i="0" u="none" strike="noStrike" cap="none" normalizeH="0" baseline="0" dirty="0" err="1" smtClean="0">
                    <a:ln>
                      <a:noFill/>
                    </a:ln>
                    <a:solidFill>
                      <a:schemeClr val="tx1"/>
                    </a:solidFill>
                    <a:effectLst/>
                  </a:endParaRPr>
                </a:p>
              </p:txBody>
            </p:sp>
            <p:sp>
              <p:nvSpPr>
                <p:cNvPr id="55" name="TextBox 54"/>
                <p:cNvSpPr txBox="1"/>
                <p:nvPr/>
              </p:nvSpPr>
              <p:spPr>
                <a:xfrm>
                  <a:off x="2361226" y="1361573"/>
                  <a:ext cx="320559" cy="20313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>
                    <a:lnSpc>
                      <a:spcPct val="110000"/>
                    </a:lnSpc>
                    <a:spcAft>
                      <a:spcPts val="500"/>
                    </a:spcAft>
                  </a:pPr>
                  <a:r>
                    <a:rPr lang="it-IT" sz="1200" dirty="0" smtClean="0"/>
                    <a:t>T1</a:t>
                  </a:r>
                  <a:endParaRPr lang="en-US" sz="1200" dirty="0" err="1" smtClean="0"/>
                </a:p>
              </p:txBody>
            </p:sp>
          </p:grpSp>
          <p:grpSp>
            <p:nvGrpSpPr>
              <p:cNvPr id="115" name="Group 114"/>
              <p:cNvGrpSpPr/>
              <p:nvPr/>
            </p:nvGrpSpPr>
            <p:grpSpPr>
              <a:xfrm>
                <a:off x="1033736" y="1328987"/>
                <a:ext cx="7215934" cy="3076108"/>
                <a:chOff x="1033736" y="1328987"/>
                <a:chExt cx="7215934" cy="3076108"/>
              </a:xfrm>
            </p:grpSpPr>
            <p:grpSp>
              <p:nvGrpSpPr>
                <p:cNvPr id="114" name="Group 113"/>
                <p:cNvGrpSpPr/>
                <p:nvPr/>
              </p:nvGrpSpPr>
              <p:grpSpPr>
                <a:xfrm>
                  <a:off x="1033736" y="1328987"/>
                  <a:ext cx="7215934" cy="3076108"/>
                  <a:chOff x="1033736" y="1328987"/>
                  <a:chExt cx="7215934" cy="3076108"/>
                </a:xfrm>
              </p:grpSpPr>
              <p:grpSp>
                <p:nvGrpSpPr>
                  <p:cNvPr id="87" name="Group 86"/>
                  <p:cNvGrpSpPr/>
                  <p:nvPr/>
                </p:nvGrpSpPr>
                <p:grpSpPr>
                  <a:xfrm>
                    <a:off x="6974716" y="2075403"/>
                    <a:ext cx="833922" cy="203133"/>
                    <a:chOff x="2088107" y="1361573"/>
                    <a:chExt cx="863138" cy="203133"/>
                  </a:xfrm>
                </p:grpSpPr>
                <p:sp>
                  <p:nvSpPr>
                    <p:cNvPr id="88" name="Left-Right Arrow 87"/>
                    <p:cNvSpPr/>
                    <p:nvPr/>
                  </p:nvSpPr>
                  <p:spPr bwMode="auto">
                    <a:xfrm>
                      <a:off x="2088107" y="1361573"/>
                      <a:ext cx="863138" cy="184244"/>
                    </a:xfrm>
                    <a:prstGeom prst="leftRightArrow">
                      <a:avLst/>
                    </a:prstGeom>
                    <a:solidFill>
                      <a:schemeClr val="bg2"/>
                    </a:solidFill>
                    <a:ln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square" lIns="72000" tIns="36000" rIns="36000" bIns="36000" numCol="1" rtlCol="0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indent="0" algn="l" defTabSz="99536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err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</a:endParaRPr>
                    </a:p>
                  </p:txBody>
                </p:sp>
                <p:sp>
                  <p:nvSpPr>
                    <p:cNvPr id="89" name="TextBox 88"/>
                    <p:cNvSpPr txBox="1"/>
                    <p:nvPr/>
                  </p:nvSpPr>
                  <p:spPr>
                    <a:xfrm>
                      <a:off x="2361226" y="1361573"/>
                      <a:ext cx="320559" cy="203133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0" tIns="0" rIns="0" bIns="0" rtlCol="0" anchor="ctr">
                      <a:spAutoFit/>
                    </a:bodyPr>
                    <a:lstStyle/>
                    <a:p>
                      <a:pPr algn="ctr">
                        <a:lnSpc>
                          <a:spcPct val="110000"/>
                        </a:lnSpc>
                        <a:spcAft>
                          <a:spcPts val="500"/>
                        </a:spcAft>
                      </a:pPr>
                      <a:r>
                        <a:rPr lang="it-IT" sz="1200" dirty="0" smtClean="0"/>
                        <a:t>T4</a:t>
                      </a:r>
                      <a:endParaRPr lang="en-US" sz="1200" dirty="0" err="1" smtClean="0"/>
                    </a:p>
                  </p:txBody>
                </p:sp>
              </p:grpSp>
              <p:grpSp>
                <p:nvGrpSpPr>
                  <p:cNvPr id="110" name="Group 109"/>
                  <p:cNvGrpSpPr/>
                  <p:nvPr/>
                </p:nvGrpSpPr>
                <p:grpSpPr>
                  <a:xfrm>
                    <a:off x="1033736" y="1328987"/>
                    <a:ext cx="7215934" cy="3076108"/>
                    <a:chOff x="1033736" y="1328987"/>
                    <a:chExt cx="7215934" cy="3076108"/>
                  </a:xfrm>
                </p:grpSpPr>
                <p:sp>
                  <p:nvSpPr>
                    <p:cNvPr id="5" name="Rectangle 4"/>
                    <p:cNvSpPr/>
                    <p:nvPr/>
                  </p:nvSpPr>
                  <p:spPr>
                    <a:xfrm>
                      <a:off x="4331078" y="1331990"/>
                      <a:ext cx="2033556" cy="261610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/>
                    <a:p>
                      <a:pPr algn="ctr"/>
                      <a:r>
                        <a:rPr lang="en-US" sz="1100" b="1" dirty="0" smtClean="0"/>
                        <a:t>SORT_RQST</a:t>
                      </a:r>
                      <a:r>
                        <a:rPr lang="en-US" sz="1100" dirty="0" smtClean="0"/>
                        <a:t> / </a:t>
                      </a:r>
                      <a:r>
                        <a:rPr lang="en-US" sz="1100" b="1" dirty="0"/>
                        <a:t>SORT_RSLT</a:t>
                      </a:r>
                    </a:p>
                  </p:txBody>
                </p:sp>
                <p:grpSp>
                  <p:nvGrpSpPr>
                    <p:cNvPr id="109" name="Group 108"/>
                    <p:cNvGrpSpPr/>
                    <p:nvPr/>
                  </p:nvGrpSpPr>
                  <p:grpSpPr>
                    <a:xfrm>
                      <a:off x="1033736" y="1328987"/>
                      <a:ext cx="7215934" cy="3076108"/>
                      <a:chOff x="1033736" y="1328987"/>
                      <a:chExt cx="7215934" cy="3076108"/>
                    </a:xfrm>
                  </p:grpSpPr>
                  <p:grpSp>
                    <p:nvGrpSpPr>
                      <p:cNvPr id="108" name="Group 107"/>
                      <p:cNvGrpSpPr/>
                      <p:nvPr/>
                    </p:nvGrpSpPr>
                    <p:grpSpPr>
                      <a:xfrm>
                        <a:off x="1033736" y="1328987"/>
                        <a:ext cx="7215934" cy="3070477"/>
                        <a:chOff x="1033736" y="1328987"/>
                        <a:chExt cx="7215934" cy="3070477"/>
                      </a:xfrm>
                    </p:grpSpPr>
                    <p:cxnSp>
                      <p:nvCxnSpPr>
                        <p:cNvPr id="34" name="Straight Connector 33"/>
                        <p:cNvCxnSpPr/>
                        <p:nvPr/>
                      </p:nvCxnSpPr>
                      <p:spPr bwMode="auto">
                        <a:xfrm>
                          <a:off x="3039614" y="1645325"/>
                          <a:ext cx="0" cy="2340000"/>
                        </a:xfrm>
                        <a:prstGeom prst="line">
                          <a:avLst/>
                        </a:prstGeom>
                        <a:solidFill>
                          <a:schemeClr val="bg1"/>
                        </a:solidFill>
                        <a:ln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</p:cxnSp>
                    <p:grpSp>
                      <p:nvGrpSpPr>
                        <p:cNvPr id="107" name="Group 106"/>
                        <p:cNvGrpSpPr/>
                        <p:nvPr/>
                      </p:nvGrpSpPr>
                      <p:grpSpPr>
                        <a:xfrm>
                          <a:off x="1033736" y="1328987"/>
                          <a:ext cx="7215934" cy="3070477"/>
                          <a:chOff x="1033736" y="1328987"/>
                          <a:chExt cx="7215934" cy="3070477"/>
                        </a:xfrm>
                      </p:grpSpPr>
                      <p:cxnSp>
                        <p:nvCxnSpPr>
                          <p:cNvPr id="93" name="Straight Connector 92"/>
                          <p:cNvCxnSpPr/>
                          <p:nvPr/>
                        </p:nvCxnSpPr>
                        <p:spPr bwMode="auto">
                          <a:xfrm>
                            <a:off x="3883501" y="1645325"/>
                            <a:ext cx="0" cy="2340000"/>
                          </a:xfrm>
                          <a:prstGeom prst="line">
                            <a:avLst/>
                          </a:prstGeom>
                          <a:solidFill>
                            <a:schemeClr val="bg1"/>
                          </a:solidFill>
                          <a:ln w="12700" cap="flat" cmpd="sng" algn="ctr">
                            <a:solidFill>
                              <a:schemeClr val="accent2"/>
                            </a:solidFill>
                            <a:prstDash val="solid"/>
                            <a:round/>
                            <a:headEnd type="none" w="med" len="med"/>
                            <a:tailEnd type="none" w="med" len="med"/>
                          </a:ln>
                          <a:effectLst/>
                        </p:spPr>
                      </p:cxnSp>
                      <p:grpSp>
                        <p:nvGrpSpPr>
                          <p:cNvPr id="52" name="Group 51"/>
                          <p:cNvGrpSpPr/>
                          <p:nvPr/>
                        </p:nvGrpSpPr>
                        <p:grpSpPr>
                          <a:xfrm>
                            <a:off x="3890732" y="2072172"/>
                            <a:ext cx="3084695" cy="203133"/>
                            <a:chOff x="2059521" y="1361573"/>
                            <a:chExt cx="914510" cy="203133"/>
                          </a:xfrm>
                        </p:grpSpPr>
                        <p:sp>
                          <p:nvSpPr>
                            <p:cNvPr id="50" name="Left-Right Arrow 49"/>
                            <p:cNvSpPr/>
                            <p:nvPr/>
                          </p:nvSpPr>
                          <p:spPr bwMode="auto">
                            <a:xfrm>
                              <a:off x="2059521" y="1364804"/>
                              <a:ext cx="914510" cy="184244"/>
                            </a:xfrm>
                            <a:prstGeom prst="leftRightArrow">
                              <a:avLst/>
                            </a:prstGeom>
                            <a:solidFill>
                              <a:schemeClr val="bg2"/>
                            </a:solidFill>
                            <a:ln w="12700" cap="flat" cmpd="sng" algn="ctr">
                              <a:noFill/>
                              <a:prstDash val="solid"/>
                              <a:round/>
                              <a:headEnd type="none" w="med" len="med"/>
                              <a:tailEnd type="none" w="med" len="med"/>
                            </a:ln>
                            <a:effectLst/>
                          </p:spPr>
                          <p:txBody>
                            <a:bodyPr vert="horz" wrap="square" lIns="72000" tIns="36000" rIns="36000" bIns="36000" numCol="1" rtlCol="0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indent="0" algn="l" defTabSz="995363" rtl="0" eaLnBrk="0" fontAlgn="base" latinLnBrk="0" hangingPunct="0">
                                <a:lnSpc>
                                  <a:spcPct val="100000"/>
                                </a:lnSpc>
                                <a:spcBef>
                                  <a:spcPct val="0"/>
                                </a:spcBef>
                                <a:spcAft>
                                  <a:spcPct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</a:pPr>
                              <a:endParaRPr kumimoji="0" lang="en-US" sz="1200" b="0" i="0" u="none" strike="noStrike" cap="none" normalizeH="0" baseline="0" dirty="0" err="1" smtClean="0">
                                <a:ln>
                                  <a:noFill/>
                                </a:ln>
                                <a:solidFill>
                                  <a:schemeClr val="tx1"/>
                                </a:solidFill>
                                <a:effectLst/>
                              </a:endParaRPr>
                            </a:p>
                          </p:txBody>
                        </p:sp>
                        <p:sp>
                          <p:nvSpPr>
                            <p:cNvPr id="51" name="TextBox 50"/>
                            <p:cNvSpPr txBox="1"/>
                            <p:nvPr/>
                          </p:nvSpPr>
                          <p:spPr>
                            <a:xfrm>
                              <a:off x="2361226" y="1361573"/>
                              <a:ext cx="320559" cy="203133"/>
                            </a:xfrm>
                            <a:prstGeom prst="rect">
                              <a:avLst/>
                            </a:prstGeom>
                            <a:noFill/>
                          </p:spPr>
                          <p:txBody>
                            <a:bodyPr wrap="square" lIns="0" tIns="0" rIns="0" bIns="0" rtlCol="0" anchor="ctr">
                              <a:spAutoFit/>
                            </a:bodyPr>
                            <a:lstStyle/>
                            <a:p>
                              <a:pPr algn="ctr">
                                <a:lnSpc>
                                  <a:spcPct val="110000"/>
                                </a:lnSpc>
                                <a:spcAft>
                                  <a:spcPts val="500"/>
                                </a:spcAft>
                              </a:pPr>
                              <a:r>
                                <a:rPr lang="it-IT" sz="1200" dirty="0" smtClean="0"/>
                                <a:t>T3</a:t>
                              </a:r>
                              <a:endParaRPr lang="en-US" sz="1200" dirty="0" err="1" smtClean="0"/>
                            </a:p>
                          </p:txBody>
                        </p:sp>
                      </p:grpSp>
                      <p:grpSp>
                        <p:nvGrpSpPr>
                          <p:cNvPr id="106" name="Group 105"/>
                          <p:cNvGrpSpPr/>
                          <p:nvPr/>
                        </p:nvGrpSpPr>
                        <p:grpSpPr>
                          <a:xfrm>
                            <a:off x="1033736" y="1328987"/>
                            <a:ext cx="7215934" cy="3070477"/>
                            <a:chOff x="1033736" y="1328987"/>
                            <a:chExt cx="7215934" cy="3070477"/>
                          </a:xfrm>
                        </p:grpSpPr>
                        <p:cxnSp>
                          <p:nvCxnSpPr>
                            <p:cNvPr id="36" name="Straight Connector 35"/>
                            <p:cNvCxnSpPr/>
                            <p:nvPr/>
                          </p:nvCxnSpPr>
                          <p:spPr bwMode="auto">
                            <a:xfrm>
                              <a:off x="7818605" y="1645324"/>
                              <a:ext cx="5481" cy="2358000"/>
                            </a:xfrm>
                            <a:prstGeom prst="line">
                              <a:avLst/>
                            </a:prstGeom>
                            <a:solidFill>
                              <a:schemeClr val="bg1"/>
                            </a:solidFill>
                            <a:ln w="12700" cap="flat" cmpd="sng" algn="ctr">
                              <a:solidFill>
                                <a:schemeClr val="accent2"/>
                              </a:solidFill>
                              <a:prstDash val="solid"/>
                              <a:round/>
                              <a:headEnd type="none" w="med" len="med"/>
                              <a:tailEnd type="none" w="med" len="med"/>
                            </a:ln>
                            <a:effectLst/>
                          </p:spPr>
                        </p:cxnSp>
                        <p:grpSp>
                          <p:nvGrpSpPr>
                            <p:cNvPr id="97" name="Group 96"/>
                            <p:cNvGrpSpPr/>
                            <p:nvPr/>
                          </p:nvGrpSpPr>
                          <p:grpSpPr>
                            <a:xfrm>
                              <a:off x="1033736" y="1328987"/>
                              <a:ext cx="7215934" cy="3070477"/>
                              <a:chOff x="1033736" y="1328987"/>
                              <a:chExt cx="7215934" cy="3070477"/>
                            </a:xfrm>
                          </p:grpSpPr>
                          <p:sp>
                            <p:nvSpPr>
                              <p:cNvPr id="3" name="Left Bracket 2"/>
                              <p:cNvSpPr/>
                              <p:nvPr/>
                            </p:nvSpPr>
                            <p:spPr bwMode="auto">
                              <a:xfrm rot="5400000">
                                <a:off x="5307681" y="-945013"/>
                                <a:ext cx="236928" cy="4784927"/>
                              </a:xfrm>
                              <a:prstGeom prst="leftBracket">
                                <a:avLst/>
                              </a:prstGeom>
                              <a:ln w="41275">
                                <a:headEnd type="none" w="med" len="med"/>
                                <a:tailEnd type="none" w="med" len="med"/>
                              </a:ln>
                            </p:spPr>
                            <p:style>
                              <a:lnRef idx="1">
                                <a:schemeClr val="dk1"/>
                              </a:lnRef>
                              <a:fillRef idx="0">
                                <a:schemeClr val="dk1"/>
                              </a:fillRef>
                              <a:effectRef idx="0">
                                <a:schemeClr val="dk1"/>
                              </a:effectRef>
                              <a:fontRef idx="minor">
                                <a:schemeClr val="tx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algn="ctr"/>
                                <a:endParaRPr lang="en-US"/>
                              </a:p>
                            </p:txBody>
                          </p:sp>
                          <p:grpSp>
                            <p:nvGrpSpPr>
                              <p:cNvPr id="95" name="Group 94"/>
                              <p:cNvGrpSpPr/>
                              <p:nvPr/>
                            </p:nvGrpSpPr>
                            <p:grpSpPr>
                              <a:xfrm>
                                <a:off x="1033736" y="1658098"/>
                                <a:ext cx="7215934" cy="2741366"/>
                                <a:chOff x="1033736" y="1658098"/>
                                <a:chExt cx="7215934" cy="2741366"/>
                              </a:xfrm>
                            </p:grpSpPr>
                            <p:grpSp>
                              <p:nvGrpSpPr>
                                <p:cNvPr id="94" name="Group 93"/>
                                <p:cNvGrpSpPr/>
                                <p:nvPr/>
                              </p:nvGrpSpPr>
                              <p:grpSpPr>
                                <a:xfrm>
                                  <a:off x="1033736" y="1658098"/>
                                  <a:ext cx="7215934" cy="2614986"/>
                                  <a:chOff x="1033736" y="1658098"/>
                                  <a:chExt cx="7215934" cy="2614986"/>
                                </a:xfrm>
                              </p:grpSpPr>
                              <p:grpSp>
                                <p:nvGrpSpPr>
                                  <p:cNvPr id="49" name="Group 48"/>
                                  <p:cNvGrpSpPr/>
                                  <p:nvPr/>
                                </p:nvGrpSpPr>
                                <p:grpSpPr>
                                  <a:xfrm>
                                    <a:off x="1033736" y="1658098"/>
                                    <a:ext cx="7215934" cy="2486418"/>
                                    <a:chOff x="1192760" y="1355179"/>
                                    <a:chExt cx="7215934" cy="2486418"/>
                                  </a:xfrm>
                                </p:grpSpPr>
                                <p:sp>
                                  <p:nvSpPr>
                                    <p:cNvPr id="8" name="TextBox 7"/>
                                    <p:cNvSpPr txBox="1"/>
                                    <p:nvPr/>
                                  </p:nvSpPr>
                                  <p:spPr>
                                    <a:xfrm>
                                      <a:off x="1192760" y="2229287"/>
                                      <a:ext cx="1368152" cy="609228"/>
                                    </a:xfrm>
                                    <a:prstGeom prst="rect">
                                      <a:avLst/>
                                    </a:prstGeom>
                                    <a:noFill/>
                                  </p:spPr>
                                  <p:txBody>
                                    <a:bodyPr wrap="square" lIns="0" tIns="0" rIns="0" bIns="0" rtlCol="0">
                                      <a:noAutofit/>
                                    </a:bodyPr>
                                    <a:lstStyle/>
                                    <a:p>
                                      <a:pPr algn="ctr">
                                        <a:spcAft>
                                          <a:spcPts val="500"/>
                                        </a:spcAft>
                                      </a:pPr>
                                      <a:r>
                                        <a:rPr lang="it-IT" dirty="0" smtClean="0">
                                          <a:solidFill>
                                            <a:schemeClr val="bg1"/>
                                          </a:solidFill>
                                        </a:rPr>
                                        <a:t>Data Protection</a:t>
                                      </a:r>
                                    </a:p>
                                  </p:txBody>
                                </p:sp>
                                <p:cxnSp>
                                  <p:nvCxnSpPr>
                                    <p:cNvPr id="12" name="Straight Arrow Connector 11"/>
                                    <p:cNvCxnSpPr/>
                                    <p:nvPr/>
                                  </p:nvCxnSpPr>
                                  <p:spPr bwMode="auto">
                                    <a:xfrm>
                                      <a:off x="4362732" y="2290016"/>
                                      <a:ext cx="2520000" cy="0"/>
                                    </a:xfrm>
                                    <a:prstGeom prst="straightConnector1">
                                      <a:avLst/>
                                    </a:prstGeom>
                                    <a:solidFill>
                                      <a:schemeClr val="bg1"/>
                                    </a:solidFill>
                                    <a:ln w="34925" cap="flat" cmpd="sng" algn="ctr">
                                      <a:solidFill>
                                        <a:srgbClr val="FF0000"/>
                                      </a:solidFill>
                                      <a:prstDash val="solid"/>
                                      <a:round/>
                                      <a:headEnd type="none" w="med" len="med"/>
                                      <a:tailEnd type="triangle"/>
                                    </a:ln>
                                    <a:effectLst/>
                                  </p:spPr>
                                </p:cxnSp>
                                <p:cxnSp>
                                  <p:nvCxnSpPr>
                                    <p:cNvPr id="13" name="Straight Arrow Connector 12"/>
                                    <p:cNvCxnSpPr/>
                                    <p:nvPr/>
                                  </p:nvCxnSpPr>
                                  <p:spPr bwMode="auto">
                                    <a:xfrm flipH="1">
                                      <a:off x="4268658" y="2800700"/>
                                      <a:ext cx="2520000" cy="0"/>
                                    </a:xfrm>
                                    <a:prstGeom prst="straightConnector1">
                                      <a:avLst/>
                                    </a:prstGeom>
                                    <a:solidFill>
                                      <a:schemeClr val="bg1"/>
                                    </a:solidFill>
                                    <a:ln w="34925" cap="flat" cmpd="sng" algn="ctr">
                                      <a:solidFill>
                                        <a:srgbClr val="FFCC00"/>
                                      </a:solidFill>
                                      <a:prstDash val="solid"/>
                                      <a:round/>
                                      <a:headEnd type="none" w="med" len="med"/>
                                      <a:tailEnd type="triangle"/>
                                    </a:ln>
                                    <a:effectLst/>
                                  </p:spPr>
                                </p:cxnSp>
                                <p:grpSp>
                                  <p:nvGrpSpPr>
                                    <p:cNvPr id="17" name="Group 16"/>
                                    <p:cNvGrpSpPr/>
                                    <p:nvPr/>
                                  </p:nvGrpSpPr>
                                  <p:grpSpPr>
                                    <a:xfrm>
                                      <a:off x="7560729" y="1990550"/>
                                      <a:ext cx="847965" cy="1114644"/>
                                      <a:chOff x="7560729" y="1990550"/>
                                      <a:chExt cx="847965" cy="1114644"/>
                                    </a:xfrm>
                                  </p:grpSpPr>
                                  <p:pic>
                                    <p:nvPicPr>
                                      <p:cNvPr id="15" name="Picture 14"/>
                                      <p:cNvPicPr>
                                        <a:picLocks noChangeAspect="1"/>
                                      </p:cNvPicPr>
                                      <p:nvPr/>
                                    </p:nvPicPr>
                                    <p:blipFill>
                                      <a:blip r:embed="rId2">
                                        <a:extLst>
                                          <a:ext uri="{28A0092B-C50C-407E-A947-70E740481C1C}">
                                            <a14:useLocalDpi xmlns:a14="http://schemas.microsoft.com/office/drawing/2010/main" val="0"/>
                                          </a:ext>
                                        </a:extLst>
                                      </a:blip>
                                      <a:stretch>
                                        <a:fillRect/>
                                      </a:stretch>
                                    </p:blipFill>
                                    <p:spPr>
                                      <a:xfrm>
                                        <a:off x="7560729" y="1990550"/>
                                        <a:ext cx="847965" cy="847965"/>
                                      </a:xfrm>
                                      <a:prstGeom prst="rect">
                                        <a:avLst/>
                                      </a:prstGeom>
                                    </p:spPr>
                                  </p:pic>
                                  <p:sp>
                                    <p:nvSpPr>
                                      <p:cNvPr id="16" name="TextBox 15"/>
                                      <p:cNvSpPr txBox="1"/>
                                      <p:nvPr/>
                                    </p:nvSpPr>
                                    <p:spPr>
                                      <a:xfrm>
                                        <a:off x="7668745" y="2812357"/>
                                        <a:ext cx="622406" cy="292837"/>
                                      </a:xfrm>
                                      <a:prstGeom prst="rect">
                                        <a:avLst/>
                                      </a:prstGeom>
                                      <a:noFill/>
                                    </p:spPr>
                                    <p:txBody>
                                      <a:bodyPr wrap="square" lIns="0" tIns="0" rIns="0" bIns="0" rtlCol="0">
                                        <a:spAutoFit/>
                                      </a:bodyPr>
                                      <a:lstStyle/>
                                      <a:p>
                                        <a:pPr algn="ctr">
                                          <a:lnSpc>
                                            <a:spcPct val="110000"/>
                                          </a:lnSpc>
                                          <a:spcAft>
                                            <a:spcPts val="500"/>
                                          </a:spcAft>
                                        </a:pPr>
                                        <a:r>
                                          <a:rPr lang="it-IT" sz="900" b="1" dirty="0" smtClean="0"/>
                                          <a:t>Server TIER1</a:t>
                                        </a:r>
                                        <a:endParaRPr lang="en-US" sz="900" b="1" dirty="0" err="1" smtClean="0"/>
                                      </a:p>
                                    </p:txBody>
                                  </p:sp>
                                </p:grpSp>
                                <p:grpSp>
                                  <p:nvGrpSpPr>
                                    <p:cNvPr id="22" name="Group 21"/>
                                    <p:cNvGrpSpPr/>
                                    <p:nvPr/>
                                  </p:nvGrpSpPr>
                                  <p:grpSpPr>
                                    <a:xfrm>
                                      <a:off x="1266085" y="1990550"/>
                                      <a:ext cx="2360067" cy="1844205"/>
                                      <a:chOff x="6043864" y="1990550"/>
                                      <a:chExt cx="2360067" cy="1844205"/>
                                    </a:xfrm>
                                  </p:grpSpPr>
                                  <p:sp>
                                    <p:nvSpPr>
                                      <p:cNvPr id="24" name="TextBox 23"/>
                                      <p:cNvSpPr txBox="1"/>
                                      <p:nvPr/>
                                    </p:nvSpPr>
                                    <p:spPr>
                                      <a:xfrm>
                                        <a:off x="6043864" y="3682406"/>
                                        <a:ext cx="946202" cy="152349"/>
                                      </a:xfrm>
                                      <a:prstGeom prst="rect">
                                        <a:avLst/>
                                      </a:prstGeom>
                                      <a:noFill/>
                                    </p:spPr>
                                    <p:txBody>
                                      <a:bodyPr wrap="square" lIns="0" tIns="0" rIns="0" bIns="0" rtlCol="0">
                                        <a:spAutoFit/>
                                      </a:bodyPr>
                                      <a:lstStyle/>
                                      <a:p>
                                        <a:pPr algn="ctr">
                                          <a:lnSpc>
                                            <a:spcPct val="110000"/>
                                          </a:lnSpc>
                                          <a:spcAft>
                                            <a:spcPts val="500"/>
                                          </a:spcAft>
                                        </a:pPr>
                                        <a:r>
                                          <a:rPr lang="it-IT" sz="900" b="1" dirty="0" smtClean="0"/>
                                          <a:t>Server TIER2</a:t>
                                        </a:r>
                                        <a:endParaRPr lang="en-US" sz="900" b="1" dirty="0" err="1" smtClean="0"/>
                                      </a:p>
                                    </p:txBody>
                                  </p:sp>
                                  <p:pic>
                                    <p:nvPicPr>
                                      <p:cNvPr id="23" name="Picture 22"/>
                                      <p:cNvPicPr>
                                        <a:picLocks noChangeAspect="1"/>
                                      </p:cNvPicPr>
                                      <p:nvPr/>
                                    </p:nvPicPr>
                                    <p:blipFill>
                                      <a:blip r:embed="rId2">
                                        <a:extLst>
                                          <a:ext uri="{28A0092B-C50C-407E-A947-70E740481C1C}">
                                            <a14:useLocalDpi xmlns:a14="http://schemas.microsoft.com/office/drawing/2010/main" val="0"/>
                                          </a:ext>
                                        </a:extLst>
                                      </a:blip>
                                      <a:stretch>
                                        <a:fillRect/>
                                      </a:stretch>
                                    </p:blipFill>
                                    <p:spPr>
                                      <a:xfrm>
                                        <a:off x="7555966" y="1990550"/>
                                        <a:ext cx="847965" cy="847965"/>
                                      </a:xfrm>
                                      <a:prstGeom prst="rect">
                                        <a:avLst/>
                                      </a:prstGeom>
                                    </p:spPr>
                                  </p:pic>
                                </p:grpSp>
                                <p:grpSp>
                                  <p:nvGrpSpPr>
                                    <p:cNvPr id="25" name="Group 24"/>
                                    <p:cNvGrpSpPr/>
                                    <p:nvPr/>
                                  </p:nvGrpSpPr>
                                  <p:grpSpPr>
                                    <a:xfrm>
                                      <a:off x="3681397" y="1984934"/>
                                      <a:ext cx="707532" cy="1123423"/>
                                      <a:chOff x="5222348" y="3135290"/>
                                      <a:chExt cx="707532" cy="1123423"/>
                                    </a:xfrm>
                                  </p:grpSpPr>
                                  <p:pic>
                                    <p:nvPicPr>
                                      <p:cNvPr id="27" name="Picture 26"/>
                                      <p:cNvPicPr>
                                        <a:picLocks noChangeAspect="1"/>
                                      </p:cNvPicPr>
                                      <p:nvPr/>
                                    </p:nvPicPr>
                                    <p:blipFill>
                                      <a:blip r:embed="rId3">
                                        <a:extLst>
                                          <a:ext uri="{28A0092B-C50C-407E-A947-70E740481C1C}">
                                            <a14:useLocalDpi xmlns:a14="http://schemas.microsoft.com/office/drawing/2010/main" val="0"/>
                                          </a:ext>
                                        </a:extLst>
                                      </a:blip>
                                      <a:stretch>
                                        <a:fillRect/>
                                      </a:stretch>
                                    </p:blipFill>
                                    <p:spPr>
                                      <a:xfrm flipH="1">
                                        <a:off x="5222348" y="3644416"/>
                                        <a:ext cx="614297" cy="614297"/>
                                      </a:xfrm>
                                      <a:prstGeom prst="rect">
                                        <a:avLst/>
                                      </a:prstGeom>
                                    </p:spPr>
                                  </p:pic>
                                  <p:pic>
                                    <p:nvPicPr>
                                      <p:cNvPr id="26" name="Picture 25"/>
                                      <p:cNvPicPr>
                                        <a:picLocks noChangeAspect="1"/>
                                      </p:cNvPicPr>
                                      <p:nvPr/>
                                    </p:nvPicPr>
                                    <p:blipFill>
                                      <a:blip r:embed="rId3">
                                        <a:extLst>
                                          <a:ext uri="{28A0092B-C50C-407E-A947-70E740481C1C}">
                                            <a14:useLocalDpi xmlns:a14="http://schemas.microsoft.com/office/drawing/2010/main" val="0"/>
                                          </a:ext>
                                        </a:extLst>
                                      </a:blip>
                                      <a:stretch>
                                        <a:fillRect/>
                                      </a:stretch>
                                    </p:blipFill>
                                    <p:spPr>
                                      <a:xfrm>
                                        <a:off x="5315583" y="3135290"/>
                                        <a:ext cx="614297" cy="614297"/>
                                      </a:xfrm>
                                      <a:prstGeom prst="rect">
                                        <a:avLst/>
                                      </a:prstGeom>
                                    </p:spPr>
                                  </p:pic>
                                </p:grpSp>
                                <p:pic>
                                  <p:nvPicPr>
                                    <p:cNvPr id="30" name="Picture 29"/>
                                    <p:cNvPicPr>
                                      <a:picLocks noChangeAspect="1"/>
                                    </p:cNvPicPr>
                                    <p:nvPr/>
                                  </p:nvPicPr>
                                  <p:blipFill>
                                    <a:blip r:embed="rId4">
                                      <a:extLst>
                                        <a:ext uri="{28A0092B-C50C-407E-A947-70E740481C1C}">
                                          <a14:useLocalDpi xmlns:a14="http://schemas.microsoft.com/office/drawing/2010/main" val="0"/>
                                        </a:ext>
                                      </a:extLst>
                                    </a:blip>
                                    <a:stretch>
                                      <a:fillRect/>
                                    </a:stretch>
                                  </p:blipFill>
                                  <p:spPr>
                                    <a:xfrm>
                                      <a:off x="1463613" y="1495678"/>
                                      <a:ext cx="551724" cy="551724"/>
                                    </a:xfrm>
                                    <a:prstGeom prst="rect">
                                      <a:avLst/>
                                    </a:prstGeom>
                                  </p:spPr>
                                </p:pic>
                                <p:pic>
                                  <p:nvPicPr>
                                    <p:cNvPr id="32" name="Picture 31"/>
                                    <p:cNvPicPr>
                                      <a:picLocks noChangeAspect="1"/>
                                    </p:cNvPicPr>
                                    <p:nvPr/>
                                  </p:nvPicPr>
                                  <p:blipFill>
                                    <a:blip r:embed="rId5" cstate="print">
                                      <a:extLst>
                                        <a:ext uri="{28A0092B-C50C-407E-A947-70E740481C1C}">
                                          <a14:useLocalDpi xmlns:a14="http://schemas.microsoft.com/office/drawing/2010/main"/>
                                        </a:ext>
                                      </a:extLst>
                                    </a:blip>
                                    <a:stretch>
                                      <a:fillRect/>
                                    </a:stretch>
                                  </p:blipFill>
                                  <p:spPr>
                                    <a:xfrm>
                                      <a:off x="1227688" y="2375399"/>
                                      <a:ext cx="977658" cy="466449"/>
                                    </a:xfrm>
                                    <a:prstGeom prst="rect">
                                      <a:avLst/>
                                    </a:prstGeom>
                                  </p:spPr>
                                </p:pic>
                                <p:pic>
                                  <p:nvPicPr>
                                    <p:cNvPr id="33" name="Picture 32"/>
                                    <p:cNvPicPr>
                                      <a:picLocks noChangeAspect="1"/>
                                    </p:cNvPicPr>
                                    <p:nvPr/>
                                  </p:nvPicPr>
                                  <p:blipFill>
                                    <a:blip r:embed="rId6">
                                      <a:duotone>
                                        <a:schemeClr val="accent5">
                                          <a:shade val="45000"/>
                                          <a:satMod val="135000"/>
                                        </a:schemeClr>
                                        <a:prstClr val="white"/>
                                      </a:duotone>
                                      <a:extLst>
                                        <a:ext uri="{28A0092B-C50C-407E-A947-70E740481C1C}">
                                          <a14:useLocalDpi xmlns:a14="http://schemas.microsoft.com/office/drawing/2010/main" val="0"/>
                                        </a:ext>
                                      </a:extLst>
                                    </a:blip>
                                    <a:stretch>
                                      <a:fillRect/>
                                    </a:stretch>
                                  </p:blipFill>
                                  <p:spPr>
                                    <a:xfrm>
                                      <a:off x="1488770" y="3202840"/>
                                      <a:ext cx="455494" cy="455494"/>
                                    </a:xfrm>
                                    <a:prstGeom prst="rect">
                                      <a:avLst/>
                                    </a:prstGeom>
                                  </p:spPr>
                                </p:pic>
                                <p:cxnSp>
                                  <p:nvCxnSpPr>
                                    <p:cNvPr id="35" name="Elbow Connector 34"/>
                                    <p:cNvCxnSpPr>
                                      <a:stCxn id="23" idx="1"/>
                                      <a:endCxn id="30" idx="3"/>
                                    </p:cNvCxnSpPr>
                                    <p:nvPr/>
                                  </p:nvCxnSpPr>
                                  <p:spPr bwMode="auto">
                                    <a:xfrm rot="10800000">
                                      <a:off x="2015337" y="1771541"/>
                                      <a:ext cx="762850" cy="642993"/>
                                    </a:xfrm>
                                    <a:prstGeom prst="bentConnector3">
                                      <a:avLst/>
                                    </a:prstGeom>
                                    <a:solidFill>
                                      <a:schemeClr val="bg1"/>
                                    </a:solidFill>
                                    <a:ln w="12700" cap="flat" cmpd="sng" algn="ctr">
                                      <a:solidFill>
                                        <a:schemeClr val="accent2"/>
                                      </a:solidFill>
                                      <a:prstDash val="solid"/>
                                      <a:round/>
                                      <a:headEnd type="none" w="med" len="med"/>
                                      <a:tailEnd type="none" w="med" len="med"/>
                                    </a:ln>
                                    <a:effectLst/>
                                  </p:spPr>
                                </p:cxnSp>
                                <p:cxnSp>
                                  <p:nvCxnSpPr>
                                    <p:cNvPr id="37" name="Elbow Connector 36"/>
                                    <p:cNvCxnSpPr>
                                      <a:stCxn id="23" idx="1"/>
                                      <a:endCxn id="33" idx="3"/>
                                    </p:cNvCxnSpPr>
                                    <p:nvPr/>
                                  </p:nvCxnSpPr>
                                  <p:spPr bwMode="auto">
                                    <a:xfrm rot="10800000" flipV="1">
                                      <a:off x="1944265" y="2414533"/>
                                      <a:ext cx="833923" cy="1016054"/>
                                    </a:xfrm>
                                    <a:prstGeom prst="bentConnector3">
                                      <a:avLst>
                                        <a:gd name="adj1" fmla="val 45858"/>
                                      </a:avLst>
                                    </a:prstGeom>
                                    <a:solidFill>
                                      <a:schemeClr val="bg1"/>
                                    </a:solidFill>
                                    <a:ln w="12700" cap="flat" cmpd="sng" algn="ctr">
                                      <a:solidFill>
                                        <a:schemeClr val="accent2"/>
                                      </a:solidFill>
                                      <a:prstDash val="solid"/>
                                      <a:round/>
                                      <a:headEnd type="none" w="med" len="med"/>
                                      <a:tailEnd type="none" w="med" len="med"/>
                                    </a:ln>
                                    <a:effectLst/>
                                  </p:spPr>
                                </p:cxnSp>
                                <p:sp>
                                  <p:nvSpPr>
                                    <p:cNvPr id="43" name="TextBox 42"/>
                                    <p:cNvSpPr txBox="1"/>
                                    <p:nvPr/>
                                  </p:nvSpPr>
                                  <p:spPr>
                                    <a:xfrm>
                                      <a:off x="2890966" y="3701109"/>
                                      <a:ext cx="622406" cy="140488"/>
                                    </a:xfrm>
                                    <a:prstGeom prst="rect">
                                      <a:avLst/>
                                    </a:prstGeom>
                                    <a:noFill/>
                                  </p:spPr>
                                  <p:txBody>
                                    <a:bodyPr wrap="square" lIns="0" tIns="0" rIns="0" bIns="0" rtlCol="0" anchor="ctr">
                                      <a:spAutoFit/>
                                    </a:bodyPr>
                                    <a:lstStyle/>
                                    <a:p>
                                      <a:pPr algn="ctr">
                                        <a:lnSpc>
                                          <a:spcPct val="110000"/>
                                        </a:lnSpc>
                                        <a:spcAft>
                                          <a:spcPts val="500"/>
                                        </a:spcAft>
                                      </a:pPr>
                                      <a:r>
                                        <a:rPr lang="it-IT" sz="900" b="1" dirty="0" smtClean="0"/>
                                        <a:t>GTW TIER2</a:t>
                                      </a:r>
                                      <a:endParaRPr lang="en-US" sz="900" b="1" dirty="0" err="1" smtClean="0"/>
                                    </a:p>
                                  </p:txBody>
                                </p:sp>
                                <p:grpSp>
                                  <p:nvGrpSpPr>
                                    <p:cNvPr id="48" name="Group 47"/>
                                    <p:cNvGrpSpPr/>
                                    <p:nvPr/>
                                  </p:nvGrpSpPr>
                                  <p:grpSpPr>
                                    <a:xfrm>
                                      <a:off x="6775010" y="1355179"/>
                                      <a:ext cx="707532" cy="2340000"/>
                                      <a:chOff x="6775010" y="1355179"/>
                                      <a:chExt cx="707532" cy="2340000"/>
                                    </a:xfrm>
                                  </p:grpSpPr>
                                  <p:cxnSp>
                                    <p:nvCxnSpPr>
                                      <p:cNvPr id="46" name="Straight Connector 45"/>
                                      <p:cNvCxnSpPr/>
                                      <p:nvPr/>
                                    </p:nvCxnSpPr>
                                    <p:spPr bwMode="auto">
                                      <a:xfrm>
                                        <a:off x="7134449" y="1355179"/>
                                        <a:ext cx="0" cy="2340000"/>
                                      </a:xfrm>
                                      <a:prstGeom prst="line">
                                        <a:avLst/>
                                      </a:prstGeom>
                                      <a:solidFill>
                                        <a:schemeClr val="bg1"/>
                                      </a:solidFill>
                                      <a:ln w="12700" cap="flat" cmpd="sng" algn="ctr">
                                        <a:solidFill>
                                          <a:schemeClr val="accent2"/>
                                        </a:solidFill>
                                        <a:prstDash val="solid"/>
                                        <a:round/>
                                        <a:headEnd type="none" w="med" len="med"/>
                                        <a:tailEnd type="none" w="med" len="med"/>
                                      </a:ln>
                                      <a:effectLst/>
                                    </p:spPr>
                                  </p:cxnSp>
                                  <p:grpSp>
                                    <p:nvGrpSpPr>
                                      <p:cNvPr id="21" name="Group 20"/>
                                      <p:cNvGrpSpPr/>
                                      <p:nvPr/>
                                    </p:nvGrpSpPr>
                                    <p:grpSpPr>
                                      <a:xfrm>
                                        <a:off x="6775010" y="1984934"/>
                                        <a:ext cx="707532" cy="1123423"/>
                                        <a:chOff x="5222348" y="3135290"/>
                                        <a:chExt cx="707532" cy="1123423"/>
                                      </a:xfrm>
                                    </p:grpSpPr>
                                    <p:pic>
                                      <p:nvPicPr>
                                        <p:cNvPr id="19" name="Picture 18"/>
                                        <p:cNvPicPr>
                                          <a:picLocks noChangeAspect="1"/>
                                        </p:cNvPicPr>
                                        <p:nvPr/>
                                      </p:nvPicPr>
                                      <p:blipFill>
                                        <a:blip r:embed="rId3">
                                          <a:extLst>
                                            <a:ext uri="{28A0092B-C50C-407E-A947-70E740481C1C}">
                                              <a14:useLocalDpi xmlns:a14="http://schemas.microsoft.com/office/drawing/2010/main" val="0"/>
                                            </a:ext>
                                          </a:extLst>
                                        </a:blip>
                                        <a:stretch>
                                          <a:fillRect/>
                                        </a:stretch>
                                      </p:blipFill>
                                      <p:spPr>
                                        <a:xfrm>
                                          <a:off x="5315583" y="3135290"/>
                                          <a:ext cx="614297" cy="614297"/>
                                        </a:xfrm>
                                        <a:prstGeom prst="rect">
                                          <a:avLst/>
                                        </a:prstGeom>
                                      </p:spPr>
                                    </p:pic>
                                    <p:pic>
                                      <p:nvPicPr>
                                        <p:cNvPr id="20" name="Picture 19"/>
                                        <p:cNvPicPr>
                                          <a:picLocks noChangeAspect="1"/>
                                        </p:cNvPicPr>
                                        <p:nvPr/>
                                      </p:nvPicPr>
                                      <p:blipFill>
                                        <a:blip r:embed="rId3">
                                          <a:extLst>
                                            <a:ext uri="{28A0092B-C50C-407E-A947-70E740481C1C}">
                                              <a14:useLocalDpi xmlns:a14="http://schemas.microsoft.com/office/drawing/2010/main" val="0"/>
                                            </a:ext>
                                          </a:extLst>
                                        </a:blip>
                                        <a:stretch>
                                          <a:fillRect/>
                                        </a:stretch>
                                      </p:blipFill>
                                      <p:spPr>
                                        <a:xfrm flipH="1">
                                          <a:off x="5222348" y="3644416"/>
                                          <a:ext cx="614297" cy="614297"/>
                                        </a:xfrm>
                                        <a:prstGeom prst="rect">
                                          <a:avLst/>
                                        </a:prstGeom>
                                      </p:spPr>
                                    </p:pic>
                                  </p:grpSp>
                                </p:grpSp>
                              </p:grpSp>
                              <p:sp>
                                <p:nvSpPr>
                                  <p:cNvPr id="38" name="TextBox 37"/>
                                  <p:cNvSpPr txBox="1"/>
                                  <p:nvPr/>
                                </p:nvSpPr>
                                <p:spPr>
                                  <a:xfrm>
                                    <a:off x="3569707" y="3980247"/>
                                    <a:ext cx="622406" cy="292837"/>
                                  </a:xfrm>
                                  <a:prstGeom prst="rect">
                                    <a:avLst/>
                                  </a:prstGeom>
                                  <a:noFill/>
                                </p:spPr>
                                <p:txBody>
                                  <a:bodyPr wrap="square" lIns="0" tIns="0" rIns="0" bIns="0" rtlCol="0" anchor="ctr">
                                    <a:spAutoFit/>
                                  </a:bodyPr>
                                  <a:lstStyle/>
                                  <a:p>
                                    <a:pPr algn="ctr">
                                      <a:lnSpc>
                                        <a:spcPct val="110000"/>
                                      </a:lnSpc>
                                      <a:spcAft>
                                        <a:spcPts val="500"/>
                                      </a:spcAft>
                                    </a:pPr>
                                    <a:r>
                                      <a:rPr lang="it-IT" sz="900" b="1" dirty="0" smtClean="0"/>
                                      <a:t>MQ CLIENT</a:t>
                                    </a:r>
                                    <a:endParaRPr lang="en-US" sz="900" b="1" dirty="0" err="1" smtClean="0"/>
                                  </a:p>
                                </p:txBody>
                              </p:sp>
                            </p:grpSp>
                            <p:sp>
                              <p:nvSpPr>
                                <p:cNvPr id="39" name="TextBox 38"/>
                                <p:cNvSpPr txBox="1"/>
                                <p:nvPr/>
                              </p:nvSpPr>
                              <p:spPr>
                                <a:xfrm>
                                  <a:off x="6664221" y="3980247"/>
                                  <a:ext cx="622406" cy="292837"/>
                                </a:xfrm>
                                <a:prstGeom prst="rect">
                                  <a:avLst/>
                                </a:prstGeom>
                                <a:noFill/>
                              </p:spPr>
                              <p:txBody>
                                <a:bodyPr wrap="square" lIns="0" tIns="0" rIns="0" bIns="0" rtlCol="0" anchor="ctr">
                                  <a:spAutoFit/>
                                </a:bodyPr>
                                <a:lstStyle/>
                                <a:p>
                                  <a:pPr algn="ctr">
                                    <a:lnSpc>
                                      <a:spcPct val="110000"/>
                                    </a:lnSpc>
                                    <a:spcAft>
                                      <a:spcPts val="500"/>
                                    </a:spcAft>
                                  </a:pPr>
                                  <a:r>
                                    <a:rPr lang="it-IT" sz="900" b="1" dirty="0" smtClean="0"/>
                                    <a:t>MQ CLIENT</a:t>
                                  </a:r>
                                  <a:endParaRPr lang="en-US" sz="900" b="1" dirty="0" err="1" smtClean="0"/>
                                </a:p>
                              </p:txBody>
                            </p:sp>
                            <p:sp>
                              <p:nvSpPr>
                                <p:cNvPr id="74" name="Left Bracket 73"/>
                                <p:cNvSpPr/>
                                <p:nvPr/>
                              </p:nvSpPr>
                              <p:spPr bwMode="auto">
                                <a:xfrm rot="16200000">
                                  <a:off x="5313386" y="1888764"/>
                                  <a:ext cx="236928" cy="4784472"/>
                                </a:xfrm>
                                <a:prstGeom prst="leftBracket">
                                  <a:avLst/>
                                </a:prstGeom>
                                <a:ln w="41275">
                                  <a:headEnd type="none" w="med" len="med"/>
                                  <a:tailEnd type="none" w="med" len="med"/>
                                </a:ln>
                              </p:spPr>
                              <p:style>
                                <a:lnRef idx="1">
                                  <a:schemeClr val="dk1"/>
                                </a:lnRef>
                                <a:fillRef idx="0">
                                  <a:schemeClr val="dk1"/>
                                </a:fillRef>
                                <a:effectRef idx="0">
                                  <a:schemeClr val="dk1"/>
                                </a:effectRef>
                                <a:fontRef idx="minor">
                                  <a:schemeClr val="tx1"/>
                                </a:fontRef>
                              </p:style>
                              <p:txBody>
                                <a:bodyPr rtlCol="0" anchor="ctr"/>
                                <a:lstStyle/>
                                <a:p>
                                  <a:pPr algn="ctr"/>
                                  <a:endParaRPr lang="en-US"/>
                                </a:p>
                              </p:txBody>
                            </p:sp>
                          </p:grpSp>
                        </p:grpSp>
                      </p:grpSp>
                    </p:grpSp>
                  </p:grpSp>
                  <p:sp>
                    <p:nvSpPr>
                      <p:cNvPr id="76" name="Rectangle 75"/>
                      <p:cNvSpPr/>
                      <p:nvPr/>
                    </p:nvSpPr>
                    <p:spPr>
                      <a:xfrm>
                        <a:off x="4331078" y="4143485"/>
                        <a:ext cx="2033556" cy="261610"/>
                      </a:xfrm>
                      <a:prstGeom prst="rect">
                        <a:avLst/>
                      </a:prstGeom>
                    </p:spPr>
                    <p:txBody>
                      <a:bodyPr wrap="square">
                        <a:spAutoFit/>
                      </a:bodyPr>
                      <a:lstStyle/>
                      <a:p>
                        <a:pPr algn="ctr"/>
                        <a:r>
                          <a:rPr lang="en-US" sz="1100" b="1" dirty="0" smtClean="0"/>
                          <a:t>SORT_INST</a:t>
                        </a:r>
                        <a:r>
                          <a:rPr lang="en-US" sz="1100" dirty="0" smtClean="0"/>
                          <a:t> </a:t>
                        </a:r>
                        <a:r>
                          <a:rPr lang="en-US" sz="1100" dirty="0"/>
                          <a:t>/ </a:t>
                        </a:r>
                        <a:r>
                          <a:rPr lang="en-US" sz="1100" b="1" dirty="0"/>
                          <a:t>SORT_ACK</a:t>
                        </a:r>
                      </a:p>
                    </p:txBody>
                  </p:sp>
                </p:grpSp>
              </p:grpSp>
            </p:grpSp>
            <p:grpSp>
              <p:nvGrpSpPr>
                <p:cNvPr id="84" name="Group 83"/>
                <p:cNvGrpSpPr/>
                <p:nvPr/>
              </p:nvGrpSpPr>
              <p:grpSpPr>
                <a:xfrm>
                  <a:off x="3047550" y="2065377"/>
                  <a:ext cx="825986" cy="203133"/>
                  <a:chOff x="2102374" y="1361573"/>
                  <a:chExt cx="849667" cy="203133"/>
                </a:xfrm>
              </p:grpSpPr>
              <p:sp>
                <p:nvSpPr>
                  <p:cNvPr id="85" name="Left-Right Arrow 84"/>
                  <p:cNvSpPr/>
                  <p:nvPr/>
                </p:nvSpPr>
                <p:spPr bwMode="auto">
                  <a:xfrm>
                    <a:off x="2102374" y="1371599"/>
                    <a:ext cx="849667" cy="184244"/>
                  </a:xfrm>
                  <a:prstGeom prst="leftRightArrow">
                    <a:avLst/>
                  </a:prstGeom>
                  <a:solidFill>
                    <a:schemeClr val="bg2"/>
                  </a:solidFill>
                  <a:ln w="1270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72000" tIns="36000" rIns="36000" bIns="3600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l" defTabSz="995363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en-US" sz="1200" b="0" i="0" u="none" strike="noStrike" cap="none" normalizeH="0" baseline="0" dirty="0" err="1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</a:endParaRPr>
                  </a:p>
                </p:txBody>
              </p:sp>
              <p:sp>
                <p:nvSpPr>
                  <p:cNvPr id="86" name="TextBox 85"/>
                  <p:cNvSpPr txBox="1"/>
                  <p:nvPr/>
                </p:nvSpPr>
                <p:spPr>
                  <a:xfrm>
                    <a:off x="2361225" y="1361573"/>
                    <a:ext cx="320559" cy="203133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 anchor="ctr">
                    <a:spAutoFit/>
                  </a:bodyPr>
                  <a:lstStyle/>
                  <a:p>
                    <a:pPr algn="ctr">
                      <a:lnSpc>
                        <a:spcPct val="110000"/>
                      </a:lnSpc>
                      <a:spcAft>
                        <a:spcPts val="500"/>
                      </a:spcAft>
                    </a:pPr>
                    <a:r>
                      <a:rPr lang="it-IT" sz="1200" dirty="0" smtClean="0"/>
                      <a:t>T2</a:t>
                    </a:r>
                    <a:endParaRPr lang="en-US" sz="1200" dirty="0" err="1" smtClean="0"/>
                  </a:p>
                </p:txBody>
              </p:sp>
            </p:grpSp>
          </p:grpSp>
        </p:grpSp>
        <p:cxnSp>
          <p:nvCxnSpPr>
            <p:cNvPr id="120" name="Elbow Connector 119"/>
            <p:cNvCxnSpPr>
              <a:stCxn id="23" idx="1"/>
              <a:endCxn id="32" idx="3"/>
            </p:cNvCxnSpPr>
            <p:nvPr/>
          </p:nvCxnSpPr>
          <p:spPr bwMode="auto">
            <a:xfrm rot="10800000" flipV="1">
              <a:off x="2046323" y="2806351"/>
              <a:ext cx="572841" cy="194091"/>
            </a:xfrm>
            <a:prstGeom prst="bentConnector3">
              <a:avLst>
                <a:gd name="adj1" fmla="val 66677"/>
              </a:avLst>
            </a:prstGeom>
            <a:solidFill>
              <a:schemeClr val="bg1"/>
            </a:solidFill>
            <a:ln w="127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8" name="Oval 77"/>
            <p:cNvSpPr/>
            <p:nvPr/>
          </p:nvSpPr>
          <p:spPr bwMode="auto">
            <a:xfrm>
              <a:off x="3797405" y="3438461"/>
              <a:ext cx="163773" cy="143301"/>
            </a:xfrm>
            <a:prstGeom prst="ellipse">
              <a:avLst/>
            </a:prstGeom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77" name="Oval 76"/>
            <p:cNvSpPr/>
            <p:nvPr/>
          </p:nvSpPr>
          <p:spPr bwMode="auto">
            <a:xfrm>
              <a:off x="3799024" y="1926303"/>
              <a:ext cx="163773" cy="143301"/>
            </a:xfrm>
            <a:prstGeom prst="ellipse">
              <a:avLst/>
            </a:prstGeom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80" name="Oval 79"/>
            <p:cNvSpPr/>
            <p:nvPr/>
          </p:nvSpPr>
          <p:spPr bwMode="auto">
            <a:xfrm>
              <a:off x="3801614" y="1693183"/>
              <a:ext cx="163773" cy="143301"/>
            </a:xfrm>
            <a:prstGeom prst="ellipse">
              <a:avLst/>
            </a:prstGeom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81" name="Oval 80"/>
            <p:cNvSpPr/>
            <p:nvPr/>
          </p:nvSpPr>
          <p:spPr bwMode="auto">
            <a:xfrm>
              <a:off x="2957727" y="1924752"/>
              <a:ext cx="163773" cy="143301"/>
            </a:xfrm>
            <a:prstGeom prst="ellipse">
              <a:avLst/>
            </a:prstGeom>
            <a:solidFill>
              <a:srgbClr val="00B0F0"/>
            </a:solidFill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82" name="Oval 81"/>
            <p:cNvSpPr/>
            <p:nvPr/>
          </p:nvSpPr>
          <p:spPr bwMode="auto">
            <a:xfrm>
              <a:off x="7736720" y="3438461"/>
              <a:ext cx="163773" cy="143301"/>
            </a:xfrm>
            <a:prstGeom prst="ellipse">
              <a:avLst/>
            </a:prstGeom>
            <a:solidFill>
              <a:srgbClr val="00B0F0"/>
            </a:solidFill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4886801" y="1733743"/>
            <a:ext cx="5913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it-IT" sz="900" dirty="0" smtClean="0"/>
              <a:t>TOE</a:t>
            </a:r>
            <a:endParaRPr lang="en-US" sz="1200" dirty="0" err="1" smtClean="0"/>
          </a:p>
        </p:txBody>
      </p:sp>
    </p:spTree>
    <p:extLst>
      <p:ext uri="{BB962C8B-B14F-4D97-AF65-F5344CB8AC3E}">
        <p14:creationId xmlns:p14="http://schemas.microsoft.com/office/powerpoint/2010/main" val="3233377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it-IT" dirty="0" smtClean="0"/>
              <a:t>High Level Communications Schema – SNIFFER / GRAYLOG</a:t>
            </a:r>
            <a:endParaRPr lang="it-IT" dirty="0"/>
          </a:p>
        </p:txBody>
      </p:sp>
      <p:grpSp>
        <p:nvGrpSpPr>
          <p:cNvPr id="14" name="Group 13"/>
          <p:cNvGrpSpPr/>
          <p:nvPr/>
        </p:nvGrpSpPr>
        <p:grpSpPr>
          <a:xfrm>
            <a:off x="430443" y="1878071"/>
            <a:ext cx="929812" cy="1209551"/>
            <a:chOff x="1560968" y="1878071"/>
            <a:chExt cx="929812" cy="1209551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60968" y="1878071"/>
              <a:ext cx="929812" cy="929812"/>
            </a:xfrm>
            <a:prstGeom prst="rect">
              <a:avLst/>
            </a:prstGeom>
          </p:spPr>
        </p:pic>
        <p:sp>
          <p:nvSpPr>
            <p:cNvPr id="90" name="TextBox 89"/>
            <p:cNvSpPr txBox="1"/>
            <p:nvPr/>
          </p:nvSpPr>
          <p:spPr>
            <a:xfrm>
              <a:off x="1714671" y="2794785"/>
              <a:ext cx="622406" cy="29283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500"/>
                </a:spcAft>
              </a:pPr>
              <a:r>
                <a:rPr lang="it-IT" sz="900" b="1" dirty="0" smtClean="0"/>
                <a:t>TIER2 Switch</a:t>
              </a:r>
              <a:endParaRPr lang="en-US" sz="900" b="1" dirty="0" err="1" smtClean="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5569697" y="2059241"/>
            <a:ext cx="847965" cy="1140802"/>
            <a:chOff x="6645514" y="2059241"/>
            <a:chExt cx="847965" cy="1140802"/>
          </a:xfrm>
        </p:grpSpPr>
        <p:pic>
          <p:nvPicPr>
            <p:cNvPr id="91" name="Picture 90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45514" y="2059241"/>
              <a:ext cx="847965" cy="847965"/>
            </a:xfrm>
            <a:prstGeom prst="rect">
              <a:avLst/>
            </a:prstGeom>
          </p:spPr>
        </p:pic>
        <p:sp>
          <p:nvSpPr>
            <p:cNvPr id="92" name="TextBox 91"/>
            <p:cNvSpPr txBox="1"/>
            <p:nvPr/>
          </p:nvSpPr>
          <p:spPr>
            <a:xfrm>
              <a:off x="6758293" y="2907206"/>
              <a:ext cx="622406" cy="29283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500"/>
                </a:spcAft>
              </a:pPr>
              <a:r>
                <a:rPr lang="it-IT" sz="900" b="1" dirty="0" smtClean="0"/>
                <a:t>Graylog Server</a:t>
              </a:r>
              <a:endParaRPr lang="en-US" sz="900" b="1" dirty="0" err="1" smtClean="0"/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2740434" y="1979225"/>
            <a:ext cx="1394376" cy="1051251"/>
            <a:chOff x="3870959" y="1979225"/>
            <a:chExt cx="1394376" cy="1051251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70959" y="1979225"/>
              <a:ext cx="1394376" cy="927981"/>
            </a:xfrm>
            <a:prstGeom prst="rect">
              <a:avLst/>
            </a:prstGeom>
          </p:spPr>
        </p:pic>
        <p:sp>
          <p:nvSpPr>
            <p:cNvPr id="96" name="TextBox 95"/>
            <p:cNvSpPr txBox="1"/>
            <p:nvPr/>
          </p:nvSpPr>
          <p:spPr>
            <a:xfrm>
              <a:off x="4256944" y="2878127"/>
              <a:ext cx="622406" cy="15234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500"/>
                </a:spcAft>
              </a:pPr>
              <a:r>
                <a:rPr lang="it-IT" sz="900" b="1" dirty="0" err="1" smtClean="0"/>
                <a:t>Sniffer</a:t>
              </a:r>
              <a:endParaRPr lang="en-US" sz="900" b="1" dirty="0" err="1" smtClean="0"/>
            </a:p>
          </p:txBody>
        </p:sp>
      </p:grpSp>
      <p:cxnSp>
        <p:nvCxnSpPr>
          <p:cNvPr id="31" name="Straight Arrow Connector 30"/>
          <p:cNvCxnSpPr/>
          <p:nvPr/>
        </p:nvCxnSpPr>
        <p:spPr bwMode="auto">
          <a:xfrm>
            <a:off x="1579423" y="2342977"/>
            <a:ext cx="1238596" cy="0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99" name="Straight Arrow Connector 98"/>
          <p:cNvCxnSpPr/>
          <p:nvPr/>
        </p:nvCxnSpPr>
        <p:spPr bwMode="auto">
          <a:xfrm>
            <a:off x="3988726" y="2344535"/>
            <a:ext cx="1238596" cy="0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00" name="TextBox 99"/>
          <p:cNvSpPr txBox="1"/>
          <p:nvPr/>
        </p:nvSpPr>
        <p:spPr>
          <a:xfrm>
            <a:off x="1887518" y="2219629"/>
            <a:ext cx="622406" cy="12490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it-IT" sz="800" dirty="0" smtClean="0"/>
              <a:t>SPAN </a:t>
            </a:r>
            <a:r>
              <a:rPr lang="it-IT" sz="800" dirty="0" err="1" smtClean="0"/>
              <a:t>port</a:t>
            </a:r>
            <a:endParaRPr lang="en-US" sz="800" dirty="0" err="1" smtClean="0"/>
          </a:p>
        </p:txBody>
      </p:sp>
      <p:sp>
        <p:nvSpPr>
          <p:cNvPr id="101" name="TextBox 100"/>
          <p:cNvSpPr txBox="1"/>
          <p:nvPr/>
        </p:nvSpPr>
        <p:spPr>
          <a:xfrm>
            <a:off x="4299117" y="2356034"/>
            <a:ext cx="622406" cy="13542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it-IT" sz="800" dirty="0" smtClean="0"/>
              <a:t>Over TLS</a:t>
            </a:r>
            <a:endParaRPr lang="en-US" sz="800" dirty="0" err="1" smtClean="0"/>
          </a:p>
        </p:txBody>
      </p:sp>
      <p:sp>
        <p:nvSpPr>
          <p:cNvPr id="40" name="TextBox 39"/>
          <p:cNvSpPr txBox="1"/>
          <p:nvPr/>
        </p:nvSpPr>
        <p:spPr>
          <a:xfrm>
            <a:off x="2789725" y="3154323"/>
            <a:ext cx="1394376" cy="4196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ctr">
              <a:lnSpc>
                <a:spcPct val="110000"/>
              </a:lnSpc>
              <a:spcAft>
                <a:spcPts val="500"/>
              </a:spcAft>
              <a:buFont typeface="Wingdings" panose="05000000000000000000" pitchFamily="2" charset="2"/>
              <a:buChar char="Ø"/>
            </a:pPr>
            <a:r>
              <a:rPr lang="en-US" sz="700" b="1" dirty="0" smtClean="0"/>
              <a:t>Static sniffer </a:t>
            </a:r>
            <a:r>
              <a:rPr lang="en-US" sz="700" dirty="0" smtClean="0"/>
              <a:t>(</a:t>
            </a:r>
            <a:r>
              <a:rPr lang="en-US" sz="700" dirty="0"/>
              <a:t>W</a:t>
            </a:r>
            <a:r>
              <a:rPr lang="en-US" sz="700" dirty="0" smtClean="0"/>
              <a:t>ireshark)</a:t>
            </a:r>
          </a:p>
          <a:p>
            <a:pPr marL="171450" indent="-171450" algn="ctr">
              <a:lnSpc>
                <a:spcPct val="110000"/>
              </a:lnSpc>
              <a:spcAft>
                <a:spcPts val="500"/>
              </a:spcAft>
              <a:buFont typeface="Wingdings" panose="05000000000000000000" pitchFamily="2" charset="2"/>
              <a:buChar char="Ø"/>
            </a:pPr>
            <a:r>
              <a:rPr lang="en-US" sz="700" b="1" dirty="0" smtClean="0"/>
              <a:t>Dynamic sniffer </a:t>
            </a:r>
            <a:r>
              <a:rPr lang="en-US" sz="700" dirty="0" smtClean="0"/>
              <a:t>(python + </a:t>
            </a:r>
            <a:r>
              <a:rPr lang="en-US" sz="700" dirty="0" err="1" smtClean="0"/>
              <a:t>Scapy</a:t>
            </a:r>
            <a:r>
              <a:rPr lang="en-US" sz="700" dirty="0" smtClean="0"/>
              <a:t>)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5296491" y="3277628"/>
            <a:ext cx="1394376" cy="4196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ctr">
              <a:lnSpc>
                <a:spcPct val="110000"/>
              </a:lnSpc>
              <a:spcAft>
                <a:spcPts val="500"/>
              </a:spcAft>
              <a:buFont typeface="Wingdings" panose="05000000000000000000" pitchFamily="2" charset="2"/>
              <a:buChar char="Ø"/>
            </a:pPr>
            <a:r>
              <a:rPr lang="en-US" sz="700" b="1" dirty="0" smtClean="0"/>
              <a:t>NXLOG </a:t>
            </a:r>
            <a:r>
              <a:rPr lang="en-US" sz="700" dirty="0" smtClean="0"/>
              <a:t>for data analysis</a:t>
            </a:r>
          </a:p>
          <a:p>
            <a:pPr marL="171450" indent="-171450" algn="ctr">
              <a:lnSpc>
                <a:spcPct val="110000"/>
              </a:lnSpc>
              <a:spcAft>
                <a:spcPts val="500"/>
              </a:spcAft>
              <a:buFont typeface="Wingdings" panose="05000000000000000000" pitchFamily="2" charset="2"/>
              <a:buChar char="Ø"/>
            </a:pPr>
            <a:r>
              <a:rPr lang="it-IT" sz="700" b="1" dirty="0" smtClean="0"/>
              <a:t>GRAYLOG </a:t>
            </a:r>
            <a:r>
              <a:rPr lang="it-IT" sz="700" dirty="0" smtClean="0"/>
              <a:t>for </a:t>
            </a:r>
            <a:r>
              <a:rPr lang="it-IT" sz="700" dirty="0" err="1" smtClean="0"/>
              <a:t>dashboard</a:t>
            </a:r>
            <a:r>
              <a:rPr lang="it-IT" sz="700" dirty="0" smtClean="0"/>
              <a:t>, </a:t>
            </a:r>
            <a:r>
              <a:rPr lang="it-IT" sz="700" dirty="0" err="1" smtClean="0"/>
              <a:t>alert</a:t>
            </a:r>
            <a:r>
              <a:rPr lang="it-IT" sz="700" dirty="0" smtClean="0"/>
              <a:t> and </a:t>
            </a:r>
            <a:r>
              <a:rPr lang="it-IT" sz="700" dirty="0" err="1" smtClean="0"/>
              <a:t>storage</a:t>
            </a:r>
            <a:endParaRPr lang="en-US" sz="700" dirty="0" smtClean="0"/>
          </a:p>
        </p:txBody>
      </p:sp>
      <p:sp>
        <p:nvSpPr>
          <p:cNvPr id="105" name="TextBox 104"/>
          <p:cNvSpPr txBox="1"/>
          <p:nvPr/>
        </p:nvSpPr>
        <p:spPr>
          <a:xfrm>
            <a:off x="4299117" y="2197615"/>
            <a:ext cx="622406" cy="13542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it-IT" sz="800" dirty="0" smtClean="0"/>
              <a:t>DHL Network</a:t>
            </a:r>
            <a:endParaRPr lang="en-US" sz="800" dirty="0" err="1" smtClean="0"/>
          </a:p>
        </p:txBody>
      </p:sp>
      <p:sp>
        <p:nvSpPr>
          <p:cNvPr id="41" name="Rectangle 40"/>
          <p:cNvSpPr/>
          <p:nvPr/>
        </p:nvSpPr>
        <p:spPr>
          <a:xfrm>
            <a:off x="6931931" y="1688553"/>
            <a:ext cx="173320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>
                <a:hlinkClick r:id="rId5"/>
              </a:rPr>
              <a:t>https://</a:t>
            </a:r>
            <a:r>
              <a:rPr lang="en-US" sz="800" dirty="0" smtClean="0">
                <a:hlinkClick r:id="rId5"/>
              </a:rPr>
              <a:t>visuallogita.prg-dc.dhl.com/</a:t>
            </a:r>
            <a:endParaRPr lang="en-US" sz="800" dirty="0" smtClean="0"/>
          </a:p>
          <a:p>
            <a:endParaRPr lang="en-US" sz="800" dirty="0" smtClean="0"/>
          </a:p>
        </p:txBody>
      </p:sp>
      <p:sp>
        <p:nvSpPr>
          <p:cNvPr id="3" name="Rectangle 2"/>
          <p:cNvSpPr/>
          <p:nvPr/>
        </p:nvSpPr>
        <p:spPr>
          <a:xfrm>
            <a:off x="7368349" y="3364124"/>
            <a:ext cx="116378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 smtClean="0">
                <a:hlinkClick r:id="rId6"/>
              </a:rPr>
              <a:t>Esempio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30441" y="2164751"/>
            <a:ext cx="2312708" cy="98957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6100" y="1671603"/>
            <a:ext cx="255157" cy="246957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8649" y="1647433"/>
            <a:ext cx="751629" cy="3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803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it-IT" dirty="0" smtClean="0"/>
              <a:t>MQ – Data </a:t>
            </a:r>
            <a:r>
              <a:rPr lang="it-IT" dirty="0" err="1" smtClean="0"/>
              <a:t>fields</a:t>
            </a:r>
            <a:r>
              <a:rPr lang="it-IT" dirty="0" smtClean="0"/>
              <a:t> from </a:t>
            </a:r>
            <a:r>
              <a:rPr lang="it-IT" dirty="0" err="1" smtClean="0"/>
              <a:t>sniffer</a:t>
            </a:r>
            <a:endParaRPr lang="it-IT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1206074"/>
              </p:ext>
            </p:extLst>
          </p:nvPr>
        </p:nvGraphicFramePr>
        <p:xfrm>
          <a:off x="414000" y="946379"/>
          <a:ext cx="8085944" cy="3418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7022"/>
                <a:gridCol w="2731911"/>
                <a:gridCol w="1117600"/>
                <a:gridCol w="2539411"/>
              </a:tblGrid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Field </a:t>
                      </a:r>
                      <a:r>
                        <a:rPr lang="it-IT" sz="1100" b="1" kern="1200" noProof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ymbol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ote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it-IT" sz="1100" noProof="0" dirty="0" err="1" smtClean="0"/>
                        <a:t>Frame_Time</a:t>
                      </a:r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err="1" smtClean="0"/>
                        <a:t>Timestamp</a:t>
                      </a:r>
                      <a:r>
                        <a:rPr lang="it-IT" sz="800" noProof="0" dirty="0" smtClean="0"/>
                        <a:t> di cattura del pacchetto da parte dello </a:t>
                      </a:r>
                      <a:r>
                        <a:rPr lang="it-IT" sz="800" noProof="0" dirty="0" err="1" smtClean="0"/>
                        <a:t>sniffer</a:t>
                      </a:r>
                      <a:r>
                        <a:rPr lang="it-IT" sz="800" noProof="0" dirty="0" smtClean="0"/>
                        <a:t>.</a:t>
                      </a:r>
                      <a:endParaRPr lang="en-US" sz="800" b="1" noProof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 err="1" smtClean="0"/>
                        <a:t>Frame_Time</a:t>
                      </a: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_P</a:t>
                      </a:r>
                      <a:endParaRPr lang="en-US" sz="11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err="1" smtClean="0"/>
                        <a:t>Timestamp</a:t>
                      </a:r>
                      <a:r>
                        <a:rPr lang="it-IT" sz="800" noProof="0" dirty="0" smtClean="0"/>
                        <a:t> di cattura </a:t>
                      </a:r>
                      <a:r>
                        <a:rPr lang="it-IT" sz="800" noProof="0" dirty="0" err="1" smtClean="0"/>
                        <a:t>dell</a:t>
                      </a:r>
                      <a:r>
                        <a:rPr lang="it-IT" sz="800" noProof="0" dirty="0" smtClean="0"/>
                        <a:t> pacchetto precedente (stesso</a:t>
                      </a:r>
                      <a:r>
                        <a:rPr lang="it-IT" sz="800" baseline="0" noProof="0" dirty="0" smtClean="0"/>
                        <a:t> VID)</a:t>
                      </a:r>
                      <a:r>
                        <a:rPr lang="it-IT" sz="800" noProof="0" dirty="0" smtClean="0"/>
                        <a:t> da parte dello </a:t>
                      </a:r>
                      <a:r>
                        <a:rPr lang="it-IT" sz="800" noProof="0" dirty="0" err="1" smtClean="0"/>
                        <a:t>sniffer</a:t>
                      </a:r>
                      <a:r>
                        <a:rPr lang="it-IT" sz="800" noProof="0" dirty="0" smtClean="0"/>
                        <a:t>.</a:t>
                      </a:r>
                      <a:endParaRPr lang="en-US" sz="8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 err="1" smtClean="0"/>
                        <a:t>Frame_Time</a:t>
                      </a:r>
                      <a:r>
                        <a:rPr lang="en-US" sz="1100" noProof="0" dirty="0" smtClean="0"/>
                        <a:t>_</a:t>
                      </a:r>
                      <a:r>
                        <a:rPr lang="en-US" sz="1100" noProof="0" dirty="0" err="1" smtClean="0"/>
                        <a:t>DIFF_mill</a:t>
                      </a:r>
                      <a:endParaRPr lang="en-US" sz="11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smtClean="0"/>
                        <a:t>Differenza con</a:t>
                      </a:r>
                      <a:r>
                        <a:rPr lang="it-IT" sz="800" baseline="0" noProof="0" dirty="0" smtClean="0"/>
                        <a:t> millesimi tra </a:t>
                      </a:r>
                      <a:r>
                        <a:rPr lang="it-IT" sz="800" baseline="0" noProof="0" dirty="0" err="1" smtClean="0"/>
                        <a:t>Frame_Time</a:t>
                      </a:r>
                      <a:r>
                        <a:rPr lang="it-IT" sz="800" baseline="0" noProof="0" dirty="0" smtClean="0"/>
                        <a:t> e </a:t>
                      </a:r>
                      <a:r>
                        <a:rPr lang="it-IT" sz="800" baseline="0" noProof="0" dirty="0" err="1" smtClean="0"/>
                        <a:t>Frame_Time_Precedente</a:t>
                      </a:r>
                      <a:endParaRPr lang="en-US" sz="8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HDEVTM</a:t>
                      </a:r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smtClean="0"/>
                        <a:t>Informazione di </a:t>
                      </a:r>
                      <a:r>
                        <a:rPr lang="it-IT" sz="800" noProof="0" dirty="0" err="1" smtClean="0"/>
                        <a:t>Timestamp</a:t>
                      </a:r>
                      <a:r>
                        <a:rPr lang="it-IT" sz="800" noProof="0" dirty="0" smtClean="0"/>
                        <a:t> inserito nel pacchetto MQ dal server.</a:t>
                      </a:r>
                      <a:endParaRPr lang="en-US" sz="8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noProof="0" dirty="0" smtClean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HDEVTM_P</a:t>
                      </a:r>
                      <a:endParaRPr lang="en-US" sz="11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smtClean="0"/>
                        <a:t>Informazione di </a:t>
                      </a:r>
                      <a:r>
                        <a:rPr lang="it-IT" sz="800" noProof="0" dirty="0" err="1" smtClean="0"/>
                        <a:t>Timestamp</a:t>
                      </a:r>
                      <a:r>
                        <a:rPr lang="it-IT" sz="800" noProof="0" dirty="0" smtClean="0"/>
                        <a:t> del messaggio precedente (con stesso VID) inserito nel pacchetto MQ dal server.</a:t>
                      </a:r>
                      <a:endParaRPr lang="en-US" sz="8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HDEVTM_P</a:t>
                      </a:r>
                      <a:r>
                        <a:rPr lang="en-US" sz="1100" noProof="0" dirty="0" smtClean="0"/>
                        <a:t>_mil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smtClean="0"/>
                        <a:t>Differenza con</a:t>
                      </a:r>
                      <a:r>
                        <a:rPr lang="it-IT" sz="800" baseline="0" noProof="0" dirty="0" smtClean="0"/>
                        <a:t> millesimi tra HDEVTM e </a:t>
                      </a:r>
                      <a:r>
                        <a:rPr lang="it-IT" sz="800" baseline="0" noProof="0" dirty="0" err="1" smtClean="0"/>
                        <a:t>HDEVTM_Precedente</a:t>
                      </a:r>
                      <a:endParaRPr lang="en-US" sz="8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 smtClean="0"/>
                        <a:t>T2</a:t>
                      </a:r>
                      <a:endParaRPr lang="en-US" sz="11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smtClean="0"/>
                        <a:t>T2</a:t>
                      </a:r>
                      <a:r>
                        <a:rPr lang="it-IT" sz="800" baseline="0" noProof="0" dirty="0" smtClean="0"/>
                        <a:t> </a:t>
                      </a:r>
                      <a:r>
                        <a:rPr lang="it-IT" sz="800" baseline="0" noProof="0" dirty="0" err="1" smtClean="0"/>
                        <a:t>segment</a:t>
                      </a:r>
                      <a:r>
                        <a:rPr lang="it-IT" sz="800" baseline="0" noProof="0" dirty="0" smtClean="0"/>
                        <a:t> </a:t>
                      </a:r>
                      <a:r>
                        <a:rPr lang="it-IT" sz="800" baseline="0" noProof="0" dirty="0" err="1" smtClean="0"/>
                        <a:t>calculation</a:t>
                      </a:r>
                      <a:r>
                        <a:rPr lang="it-IT" sz="800" baseline="0" noProof="0" dirty="0" smtClean="0"/>
                        <a:t> time for T2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aseline="0" noProof="0" dirty="0" smtClean="0"/>
                        <a:t>(</a:t>
                      </a:r>
                      <a:r>
                        <a:rPr lang="it-IT" sz="800" noProof="0" dirty="0" err="1" smtClean="0"/>
                        <a:t>Frame_Time</a:t>
                      </a:r>
                      <a:r>
                        <a:rPr lang="en-US" sz="800" baseline="0" noProof="0" dirty="0" smtClean="0"/>
                        <a:t> – </a:t>
                      </a:r>
                      <a:r>
                        <a:rPr lang="en-US" sz="800" dirty="0" smtClean="0"/>
                        <a:t>HDEVTM</a:t>
                      </a:r>
                      <a:r>
                        <a:rPr lang="en-US" sz="800" noProof="0" dirty="0" smtClean="0"/>
                        <a:t>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50" b="0" noProof="0" dirty="0" smtClean="0"/>
                        <a:t>[2019-11-08:</a:t>
                      </a:r>
                      <a:r>
                        <a:rPr lang="it-IT" sz="1050" b="0" baseline="0" noProof="0" dirty="0" smtClean="0"/>
                        <a:t> </a:t>
                      </a:r>
                      <a:r>
                        <a:rPr lang="it-IT" sz="1050" b="0" baseline="0" noProof="0" dirty="0" err="1" smtClean="0"/>
                        <a:t>Actually</a:t>
                      </a:r>
                      <a:r>
                        <a:rPr lang="it-IT" sz="1050" b="0" baseline="0" noProof="0" dirty="0" smtClean="0"/>
                        <a:t> T2 </a:t>
                      </a:r>
                      <a:r>
                        <a:rPr lang="it-IT" sz="1050" b="0" baseline="0" noProof="0" dirty="0" err="1" smtClean="0"/>
                        <a:t>don’t</a:t>
                      </a:r>
                      <a:r>
                        <a:rPr lang="it-IT" sz="1050" b="0" baseline="0" noProof="0" dirty="0" smtClean="0"/>
                        <a:t> use </a:t>
                      </a:r>
                      <a:r>
                        <a:rPr lang="it-IT" sz="1050" b="0" baseline="0" noProof="0" dirty="0" err="1" smtClean="0"/>
                        <a:t>millisecond</a:t>
                      </a:r>
                      <a:r>
                        <a:rPr lang="it-IT" sz="1050" b="0" baseline="0" noProof="0" dirty="0" smtClean="0"/>
                        <a:t>, the </a:t>
                      </a:r>
                      <a:r>
                        <a:rPr lang="it-IT" sz="1050" b="0" baseline="0" noProof="0" dirty="0" err="1" smtClean="0"/>
                        <a:t>metric</a:t>
                      </a:r>
                      <a:r>
                        <a:rPr lang="it-IT" sz="1050" b="0" baseline="0" noProof="0" dirty="0" smtClean="0"/>
                        <a:t> </a:t>
                      </a:r>
                      <a:r>
                        <a:rPr lang="it-IT" sz="1050" b="0" baseline="0" noProof="0" dirty="0" err="1" smtClean="0"/>
                        <a:t>is</a:t>
                      </a:r>
                      <a:r>
                        <a:rPr lang="it-IT" sz="1050" b="0" baseline="0" noProof="0" dirty="0" smtClean="0"/>
                        <a:t> not </a:t>
                      </a:r>
                      <a:r>
                        <a:rPr lang="it-IT" sz="1050" b="0" baseline="0" noProof="0" dirty="0" err="1" smtClean="0"/>
                        <a:t>usefull</a:t>
                      </a:r>
                      <a:r>
                        <a:rPr lang="it-IT" sz="1050" b="0" noProof="0" dirty="0" smtClean="0"/>
                        <a:t>]</a:t>
                      </a:r>
                      <a:endParaRPr lang="en-US" sz="1050" b="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 smtClean="0"/>
                        <a:t>T6T7</a:t>
                      </a:r>
                      <a:endParaRPr lang="en-US" sz="11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err="1" smtClean="0"/>
                        <a:t>Segment</a:t>
                      </a:r>
                      <a:r>
                        <a:rPr lang="it-IT" sz="800" noProof="0" dirty="0" smtClean="0"/>
                        <a:t> </a:t>
                      </a:r>
                      <a:r>
                        <a:rPr lang="it-IT" sz="800" noProof="0" dirty="0" err="1" smtClean="0"/>
                        <a:t>calculation</a:t>
                      </a:r>
                      <a:r>
                        <a:rPr lang="it-IT" sz="800" noProof="0" dirty="0" smtClean="0"/>
                        <a:t> time for T6 and T7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aseline="0" noProof="0" dirty="0" smtClean="0"/>
                        <a:t>(</a:t>
                      </a:r>
                      <a:r>
                        <a:rPr lang="it-IT" sz="800" noProof="0" dirty="0" err="1" smtClean="0"/>
                        <a:t>Frame_Time</a:t>
                      </a:r>
                      <a:r>
                        <a:rPr lang="en-US" sz="800" baseline="0" noProof="0" dirty="0" smtClean="0"/>
                        <a:t> – </a:t>
                      </a:r>
                      <a:r>
                        <a:rPr lang="en-US" sz="800" dirty="0" smtClean="0"/>
                        <a:t>HDEVTM</a:t>
                      </a:r>
                      <a:r>
                        <a:rPr lang="en-US" sz="800" noProof="0" dirty="0" smtClean="0"/>
                        <a:t>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50" b="0" noProof="0" dirty="0" smtClean="0"/>
                        <a:t>[2019-11-08:</a:t>
                      </a:r>
                      <a:r>
                        <a:rPr lang="it-IT" sz="1050" b="0" baseline="0" noProof="0" dirty="0" smtClean="0"/>
                        <a:t> </a:t>
                      </a:r>
                      <a:r>
                        <a:rPr lang="it-IT" sz="1050" b="0" baseline="0" noProof="0" dirty="0" err="1" smtClean="0"/>
                        <a:t>Actually</a:t>
                      </a:r>
                      <a:r>
                        <a:rPr lang="it-IT" sz="1050" b="0" baseline="0" noProof="0" dirty="0" smtClean="0"/>
                        <a:t> T2 </a:t>
                      </a:r>
                      <a:r>
                        <a:rPr lang="it-IT" sz="1050" b="0" baseline="0" noProof="0" dirty="0" err="1" smtClean="0"/>
                        <a:t>don’t</a:t>
                      </a:r>
                      <a:r>
                        <a:rPr lang="it-IT" sz="1050" b="0" baseline="0" noProof="0" dirty="0" smtClean="0"/>
                        <a:t> use </a:t>
                      </a:r>
                      <a:r>
                        <a:rPr lang="it-IT" sz="1050" b="0" baseline="0" noProof="0" dirty="0" err="1" smtClean="0"/>
                        <a:t>millisecond</a:t>
                      </a:r>
                      <a:r>
                        <a:rPr lang="it-IT" sz="1050" b="0" baseline="0" noProof="0" dirty="0" smtClean="0"/>
                        <a:t>, the </a:t>
                      </a:r>
                      <a:r>
                        <a:rPr lang="it-IT" sz="1050" b="0" baseline="0" noProof="0" dirty="0" err="1" smtClean="0"/>
                        <a:t>metric</a:t>
                      </a:r>
                      <a:r>
                        <a:rPr lang="it-IT" sz="1050" b="0" baseline="0" noProof="0" dirty="0" smtClean="0"/>
                        <a:t> </a:t>
                      </a:r>
                      <a:r>
                        <a:rPr lang="it-IT" sz="1050" b="0" baseline="0" noProof="0" dirty="0" err="1" smtClean="0"/>
                        <a:t>is</a:t>
                      </a:r>
                      <a:r>
                        <a:rPr lang="it-IT" sz="1050" b="0" baseline="0" noProof="0" dirty="0" smtClean="0"/>
                        <a:t> not </a:t>
                      </a:r>
                      <a:r>
                        <a:rPr lang="it-IT" sz="1050" b="0" baseline="0" noProof="0" dirty="0" err="1" smtClean="0"/>
                        <a:t>usefull</a:t>
                      </a:r>
                      <a:r>
                        <a:rPr lang="it-IT" sz="1050" b="0" noProof="0" dirty="0" smtClean="0"/>
                        <a:t>]</a:t>
                      </a:r>
                      <a:endParaRPr lang="en-US" sz="1100" b="0" noProof="0" dirty="0"/>
                    </a:p>
                  </a:txBody>
                  <a:tcPr anchor="ctr"/>
                </a:tc>
              </a:tr>
            </a:tbl>
          </a:graphicData>
        </a:graphic>
      </p:graphicFrame>
      <p:grpSp>
        <p:nvGrpSpPr>
          <p:cNvPr id="4" name="Group 3"/>
          <p:cNvGrpSpPr/>
          <p:nvPr/>
        </p:nvGrpSpPr>
        <p:grpSpPr>
          <a:xfrm>
            <a:off x="5146969" y="1443400"/>
            <a:ext cx="549510" cy="2767353"/>
            <a:chOff x="5779153" y="1443400"/>
            <a:chExt cx="549510" cy="2767353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79154" y="3689406"/>
              <a:ext cx="549509" cy="91043"/>
            </a:xfrm>
            <a:prstGeom prst="rect">
              <a:avLst/>
            </a:prstGeom>
          </p:spPr>
        </p:pic>
        <p:sp>
          <p:nvSpPr>
            <p:cNvPr id="9" name="Oval 8"/>
            <p:cNvSpPr/>
            <p:nvPr/>
          </p:nvSpPr>
          <p:spPr bwMode="auto">
            <a:xfrm>
              <a:off x="5972021" y="1443400"/>
              <a:ext cx="163773" cy="143301"/>
            </a:xfrm>
            <a:prstGeom prst="ellipse">
              <a:avLst/>
            </a:prstGeom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0" name="Oval 9"/>
            <p:cNvSpPr/>
            <p:nvPr/>
          </p:nvSpPr>
          <p:spPr bwMode="auto">
            <a:xfrm>
              <a:off x="5972021" y="1811776"/>
              <a:ext cx="163773" cy="143301"/>
            </a:xfrm>
            <a:prstGeom prst="ellipse">
              <a:avLst/>
            </a:prstGeom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1" name="Oval 10"/>
            <p:cNvSpPr/>
            <p:nvPr/>
          </p:nvSpPr>
          <p:spPr bwMode="auto">
            <a:xfrm>
              <a:off x="5962086" y="2909155"/>
              <a:ext cx="163773" cy="143301"/>
            </a:xfrm>
            <a:prstGeom prst="ellipse">
              <a:avLst/>
            </a:prstGeom>
            <a:solidFill>
              <a:srgbClr val="00B0F0"/>
            </a:solidFill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779153" y="4153291"/>
              <a:ext cx="549509" cy="57462"/>
            </a:xfrm>
            <a:prstGeom prst="rect">
              <a:avLst/>
            </a:prstGeom>
          </p:spPr>
        </p:pic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010383" y="2105872"/>
              <a:ext cx="126773" cy="28718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52433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it-IT" dirty="0" smtClean="0"/>
              <a:t>MQ – Data </a:t>
            </a:r>
            <a:r>
              <a:rPr lang="it-IT" dirty="0" err="1" smtClean="0"/>
              <a:t>fields</a:t>
            </a:r>
            <a:r>
              <a:rPr lang="it-IT" dirty="0" smtClean="0"/>
              <a:t> from </a:t>
            </a:r>
            <a:r>
              <a:rPr lang="it-IT" dirty="0" err="1" smtClean="0"/>
              <a:t>sniffer</a:t>
            </a:r>
            <a:endParaRPr lang="it-IT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8326674"/>
              </p:ext>
            </p:extLst>
          </p:nvPr>
        </p:nvGraphicFramePr>
        <p:xfrm>
          <a:off x="414000" y="946379"/>
          <a:ext cx="8085944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7022"/>
                <a:gridCol w="2731911"/>
                <a:gridCol w="1117600"/>
                <a:gridCol w="2539411"/>
              </a:tblGrid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Field </a:t>
                      </a:r>
                      <a:r>
                        <a:rPr lang="it-IT" sz="1100" b="1" kern="1200" noProof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ymbol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ote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it-IT" sz="1100" noProof="0" dirty="0" smtClean="0"/>
                        <a:t>COW</a:t>
                      </a:r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smtClean="0"/>
                        <a:t>MQ </a:t>
                      </a:r>
                      <a:r>
                        <a:rPr lang="it-IT" sz="800" noProof="0" dirty="0" err="1" smtClean="0"/>
                        <a:t>Capacity</a:t>
                      </a:r>
                      <a:r>
                        <a:rPr lang="it-IT" sz="800" noProof="0" dirty="0" smtClean="0"/>
                        <a:t> «</a:t>
                      </a:r>
                      <a:r>
                        <a:rPr lang="it-IT" sz="800" noProof="0" dirty="0" err="1" smtClean="0"/>
                        <a:t>One</a:t>
                      </a:r>
                      <a:r>
                        <a:rPr lang="it-IT" sz="800" noProof="0" dirty="0" smtClean="0"/>
                        <a:t> Way»</a:t>
                      </a:r>
                      <a:endParaRPr lang="en-US" sz="800" b="1" noProof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noProof="0" dirty="0" err="1" smtClean="0"/>
                        <a:t>Described</a:t>
                      </a:r>
                      <a:r>
                        <a:rPr lang="it-IT" sz="1100" noProof="0" dirty="0" smtClean="0"/>
                        <a:t> in </a:t>
                      </a:r>
                      <a:r>
                        <a:rPr lang="it-IT" sz="1100" noProof="0" dirty="0" err="1" smtClean="0"/>
                        <a:t>next</a:t>
                      </a:r>
                      <a:r>
                        <a:rPr lang="it-IT" sz="1100" noProof="0" dirty="0" smtClean="0"/>
                        <a:t> slide</a:t>
                      </a:r>
                      <a:endParaRPr lang="en-US" sz="1100" noProof="0" dirty="0"/>
                    </a:p>
                  </a:txBody>
                  <a:tcPr anchor="ctr"/>
                </a:tc>
              </a:tr>
            </a:tbl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5232054" y="1358325"/>
            <a:ext cx="184593" cy="287854"/>
            <a:chOff x="2481874" y="3740727"/>
            <a:chExt cx="184593" cy="287854"/>
          </a:xfrm>
        </p:grpSpPr>
        <p:sp>
          <p:nvSpPr>
            <p:cNvPr id="12" name="Rectangle 11"/>
            <p:cNvSpPr/>
            <p:nvPr/>
          </p:nvSpPr>
          <p:spPr bwMode="auto">
            <a:xfrm>
              <a:off x="2481874" y="3740727"/>
              <a:ext cx="184593" cy="287854"/>
            </a:xfrm>
            <a:prstGeom prst="rect">
              <a:avLst/>
            </a:prstGeom>
            <a:noFill/>
            <a:ln w="12700" cap="flat" cmpd="sng" algn="ctr">
              <a:solidFill>
                <a:srgbClr val="00B050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6" name="Rectangle 5"/>
            <p:cNvSpPr/>
            <p:nvPr/>
          </p:nvSpPr>
          <p:spPr bwMode="auto">
            <a:xfrm>
              <a:off x="2481874" y="3782925"/>
              <a:ext cx="45719" cy="189497"/>
            </a:xfrm>
            <a:prstGeom prst="rect">
              <a:avLst/>
            </a:prstGeom>
            <a:solidFill>
              <a:schemeClr val="bg2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2164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3600" y="190897"/>
            <a:ext cx="6596400" cy="615553"/>
          </a:xfrm>
        </p:spPr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it-IT" dirty="0" smtClean="0"/>
              <a:t>TOW and COW</a:t>
            </a:r>
            <a:endParaRPr lang="it-IT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/>
              <p:cNvSpPr/>
              <p:nvPr/>
            </p:nvSpPr>
            <p:spPr>
              <a:xfrm>
                <a:off x="570088" y="1164852"/>
                <a:ext cx="8159912" cy="360752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spcAft>
                    <a:spcPts val="0"/>
                  </a:spcAft>
                </a:pPr>
                <a:r>
                  <a:rPr lang="en-US" b="1" dirty="0" smtClean="0">
                    <a:solidFill>
                      <a:srgbClr val="000000"/>
                    </a:solidFill>
                    <a:latin typeface="Segoe UI" panose="020B0502040204020203" pitchFamily="34" charset="0"/>
                    <a:ea typeface="Times New Roman" panose="02020603050405020304" pitchFamily="18" charset="0"/>
                  </a:rPr>
                  <a:t>Time One Way</a:t>
                </a:r>
                <a:r>
                  <a:rPr lang="en-US" dirty="0" smtClean="0">
                    <a:solidFill>
                      <a:srgbClr val="000000"/>
                    </a:solidFill>
                    <a:latin typeface="Segoe UI" panose="020B0502040204020203" pitchFamily="34" charset="0"/>
                    <a:ea typeface="Times New Roman" panose="02020603050405020304" pitchFamily="18" charset="0"/>
                  </a:rPr>
                  <a:t>: will measuring the sum of T3, T4, T5, T6 and T7. This time is  SORT_REQUEST and SORT_RESULT (between T2 and T1). Half time is a “One Way”.</a:t>
                </a:r>
              </a:p>
              <a:p>
                <a:pPr algn="ctr">
                  <a:spcAft>
                    <a:spcPts val="0"/>
                  </a:spcAft>
                </a:pPr>
                <a:r>
                  <a:rPr lang="it-IT" b="1" i="1" dirty="0">
                    <a:solidFill>
                      <a:srgbClr val="000000"/>
                    </a:solidFill>
                    <a:latin typeface="Cambria Math" panose="02040503050406030204" pitchFamily="18" charset="0"/>
                    <a:ea typeface="Times New Roman" panose="02020603050405020304" pitchFamily="18" charset="0"/>
                  </a:rPr>
                  <a:t>TOW </a:t>
                </a:r>
                <a14:m>
                  <m:oMath xmlns:m="http://schemas.openxmlformats.org/officeDocument/2006/math">
                    <m:r>
                      <a:rPr lang="it-IT" sz="2000" i="1" smtClean="0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=</m:t>
                    </m:r>
                    <m:f>
                      <m:fPr>
                        <m:ctrlPr>
                          <a:rPr lang="it-IT" sz="2000" b="0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</m:ctrlPr>
                      </m:fPr>
                      <m:num>
                        <m:r>
                          <a:rPr lang="it-IT" sz="2000" i="1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  <m:t>𝐹𝑟𝑎𝑚</m:t>
                        </m:r>
                        <m:sSub>
                          <m:sSubPr>
                            <m:ctrlPr>
                              <a:rPr lang="it-IT" sz="2000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</a:rPr>
                            </m:ctrlPr>
                          </m:sSubPr>
                          <m:e>
                            <m:r>
                              <a:rPr lang="it-IT" sz="2000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</a:rPr>
                              <m:t>𝑒</m:t>
                            </m:r>
                          </m:e>
                          <m:sub>
                            <m:r>
                              <a:rPr lang="it-IT" sz="2000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</a:rPr>
                              <m:t>𝑇𝑖𝑚</m:t>
                            </m:r>
                            <m:sSub>
                              <m:sSubPr>
                                <m:ctrlPr>
                                  <a:rPr lang="it-IT" sz="2000" i="1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</a:rPr>
                                </m:ctrlPr>
                              </m:sSubPr>
                              <m:e>
                                <m:r>
                                  <a:rPr lang="it-IT" sz="2000" i="1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</a:rPr>
                                  <m:t>𝑒</m:t>
                                </m:r>
                              </m:e>
                              <m:sub>
                                <m:r>
                                  <a:rPr lang="it-IT" sz="2000" i="1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</a:rPr>
                                  <m:t>𝐷𝐼𝐹</m:t>
                                </m:r>
                                <m:sSub>
                                  <m:sSubPr>
                                    <m:ctrlPr>
                                      <a:rPr lang="it-IT" sz="2000" i="1">
                                        <a:latin typeface="Cambria Math" panose="02040503050406030204" pitchFamily="18" charset="0"/>
                                        <a:ea typeface="Calibri" panose="020F0502020204030204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it-IT" sz="2000" i="1">
                                        <a:latin typeface="Cambria Math" panose="02040503050406030204" pitchFamily="18" charset="0"/>
                                        <a:ea typeface="Calibri" panose="020F0502020204030204" pitchFamily="34" charset="0"/>
                                      </a:rPr>
                                      <m:t>𝐹</m:t>
                                    </m:r>
                                  </m:e>
                                  <m:sub>
                                    <m:r>
                                      <a:rPr lang="it-IT" sz="2000" i="1">
                                        <a:latin typeface="Cambria Math" panose="02040503050406030204" pitchFamily="18" charset="0"/>
                                        <a:ea typeface="Calibri" panose="020F0502020204030204" pitchFamily="34" charset="0"/>
                                      </a:rPr>
                                      <m:t>𝑚𝑖𝑙𝑙</m:t>
                                    </m:r>
                                  </m:sub>
                                </m:sSub>
                              </m:sub>
                            </m:sSub>
                          </m:sub>
                        </m:sSub>
                      </m:num>
                      <m:den>
                        <m:r>
                          <a:rPr lang="it-IT" sz="2000" b="0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  <m:t>2</m:t>
                        </m:r>
                      </m:den>
                    </m:f>
                  </m:oMath>
                </a14:m>
                <a:endParaRPr lang="it-IT" b="1" i="1" dirty="0">
                  <a:solidFill>
                    <a:srgbClr val="000000"/>
                  </a:solidFill>
                  <a:latin typeface="Cambria Math" panose="02040503050406030204" pitchFamily="18" charset="0"/>
                  <a:ea typeface="Times New Roman" panose="02020603050405020304" pitchFamily="18" charset="0"/>
                </a:endParaRPr>
              </a:p>
              <a:p>
                <a:pPr>
                  <a:spcAft>
                    <a:spcPts val="0"/>
                  </a:spcAft>
                </a:pPr>
                <a:endParaRPr lang="en-US" sz="2800" dirty="0">
                  <a:latin typeface="Times New Roman" panose="02020603050405020304" pitchFamily="18" charset="0"/>
                  <a:ea typeface="Calibri" panose="020F0502020204030204" pitchFamily="34" charset="0"/>
                </a:endParaRPr>
              </a:p>
              <a:p>
                <a:r>
                  <a:rPr lang="en-US" b="1" dirty="0" smtClean="0">
                    <a:solidFill>
                      <a:srgbClr val="000000"/>
                    </a:solidFill>
                    <a:latin typeface="Segoe UI" panose="020B0502040204020203" pitchFamily="34" charset="0"/>
                    <a:ea typeface="Times New Roman" panose="02020603050405020304" pitchFamily="18" charset="0"/>
                  </a:rPr>
                  <a:t>Capacity One Way</a:t>
                </a:r>
                <a:r>
                  <a:rPr lang="en-US" dirty="0" smtClean="0">
                    <a:solidFill>
                      <a:srgbClr val="000000"/>
                    </a:solidFill>
                    <a:latin typeface="Segoe UI" panose="020B0502040204020203" pitchFamily="34" charset="0"/>
                    <a:ea typeface="Times New Roman" panose="02020603050405020304" pitchFamily="18" charset="0"/>
                  </a:rPr>
                  <a:t>: calculating in 1 minute, is the actual network Capacity for exchange MQ messages in “One Way” direction.</a:t>
                </a:r>
              </a:p>
              <a:p>
                <a:endParaRPr lang="en-US" dirty="0" smtClean="0">
                  <a:solidFill>
                    <a:srgbClr val="000000"/>
                  </a:solidFill>
                  <a:latin typeface="Segoe UI" panose="020B0502040204020203" pitchFamily="34" charset="0"/>
                  <a:ea typeface="Times New Roman" panose="020206030504050203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b="1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𝑪𝑶𝑾</m:t>
                      </m:r>
                      <m:r>
                        <a:rPr lang="en-US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=</m:t>
                      </m:r>
                      <m:d>
                        <m:dPr>
                          <m:ctrlPr>
                            <a:rPr lang="it-IT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</a:rPr>
                          </m:ctrlPr>
                        </m:dPr>
                        <m:e>
                          <m:r>
                            <a:rPr lang="it-IT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</a:rPr>
                            <m:t> </m:t>
                          </m:r>
                          <m:f>
                            <m:fPr>
                              <m:ctrlPr>
                                <a:rPr lang="it-IT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</a:rPr>
                              </m:ctrlPr>
                            </m:fPr>
                            <m:num>
                              <m:r>
                                <a:rPr lang="it-IT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it-IT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</a:rPr>
                                <m:t>𝑇𝑂𝑊</m:t>
                              </m:r>
                            </m:den>
                          </m:f>
                        </m:e>
                      </m:d>
                      <m:r>
                        <a:rPr lang="it-IT" b="0" i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∗60</m:t>
                      </m:r>
                    </m:oMath>
                  </m:oMathPara>
                </a14:m>
                <a:endParaRPr lang="en-US" dirty="0" smtClean="0">
                  <a:solidFill>
                    <a:srgbClr val="000000"/>
                  </a:solidFill>
                  <a:latin typeface="Segoe UI" panose="020B0502040204020203" pitchFamily="34" charset="0"/>
                  <a:ea typeface="Times New Roman" panose="02020603050405020304" pitchFamily="18" charset="0"/>
                </a:endParaRPr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4" name="Rectangle 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0088" y="1164852"/>
                <a:ext cx="8159912" cy="3607526"/>
              </a:xfrm>
              <a:prstGeom prst="rect">
                <a:avLst/>
              </a:prstGeom>
              <a:blipFill rotWithShape="0">
                <a:blip r:embed="rId2"/>
                <a:stretch>
                  <a:fillRect l="-673" t="-67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ectangle 4"/>
          <p:cNvSpPr/>
          <p:nvPr/>
        </p:nvSpPr>
        <p:spPr>
          <a:xfrm>
            <a:off x="8328713" y="67855"/>
            <a:ext cx="46359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 smtClean="0"/>
              <a:t>  _   _</a:t>
            </a:r>
            <a:endParaRPr lang="en-US" sz="700" dirty="0"/>
          </a:p>
          <a:p>
            <a:r>
              <a:rPr lang="en-US" sz="700" dirty="0"/>
              <a:t>((___))</a:t>
            </a:r>
          </a:p>
          <a:p>
            <a:r>
              <a:rPr lang="en-US" sz="700" dirty="0" smtClean="0"/>
              <a:t>  [ </a:t>
            </a:r>
            <a:r>
              <a:rPr lang="en-US" sz="700" dirty="0"/>
              <a:t>- - ]</a:t>
            </a:r>
          </a:p>
          <a:p>
            <a:r>
              <a:rPr lang="en-US" sz="700" dirty="0"/>
              <a:t> </a:t>
            </a:r>
            <a:r>
              <a:rPr lang="en-US" sz="700" dirty="0" smtClean="0"/>
              <a:t>  \   </a:t>
            </a:r>
            <a:r>
              <a:rPr lang="en-US" sz="700" dirty="0"/>
              <a:t>/</a:t>
            </a:r>
          </a:p>
          <a:p>
            <a:r>
              <a:rPr lang="en-US" sz="700" dirty="0"/>
              <a:t> </a:t>
            </a:r>
            <a:r>
              <a:rPr lang="en-US" sz="700" dirty="0" smtClean="0"/>
              <a:t>  (' </a:t>
            </a:r>
            <a:r>
              <a:rPr lang="en-US" sz="700" dirty="0"/>
              <a:t>')</a:t>
            </a:r>
          </a:p>
          <a:p>
            <a:r>
              <a:rPr lang="en-US" sz="700" dirty="0"/>
              <a:t>  </a:t>
            </a:r>
            <a:r>
              <a:rPr lang="en-US" sz="700" dirty="0" smtClean="0"/>
              <a:t> (</a:t>
            </a:r>
            <a:r>
              <a:rPr lang="en-US" sz="700" dirty="0"/>
              <a:t>U)</a:t>
            </a:r>
          </a:p>
        </p:txBody>
      </p:sp>
    </p:spTree>
    <p:extLst>
      <p:ext uri="{BB962C8B-B14F-4D97-AF65-F5344CB8AC3E}">
        <p14:creationId xmlns:p14="http://schemas.microsoft.com/office/powerpoint/2010/main" val="1969814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RECTANGLE 2_SHAPECLASSPROTECTIONTYPE" val="11"/>
  <p:tag name="TEXT BOX 4_SHAPECLASSPROTECTIONTYPE" val="11"/>
  <p:tag name="RECTANGLE 3_SHAPECLASSPROTECTIONTYPE" val="0"/>
  <p:tag name="SHAPESETGROUPCLASSNAME" val="ShapeSetGroup1"/>
  <p:tag name="SHAPESETCLASSNAME" val="ShapeSet4a"/>
  <p:tag name="COLORSETGROUPCLASSNAME" val="ColorSetGroup1"/>
  <p:tag name="COLORSETCLASSNAME" val="ColorSet1"/>
  <p:tag name="FONTSETGROUPCLASSNAME" val="FontSetGroup1"/>
  <p:tag name="STYLESETGROUPCLASSNAME" val="StyleSetGroup1"/>
  <p:tag name="MAPNAME" val="Map1"/>
  <p:tag name="CFG.LAYOUT" val="DHLCD01"/>
  <p:tag name="MLI" val="1"/>
  <p:tag name="CONFIG" val="DHLCD01"/>
  <p:tag name="ML_1" val="GT8000000"/>
  <p:tag name="ML_2" val="DHL_Extern.mc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RECTANGLE 2_SHAPECLASSPROTECTIONTYPE" val="11"/>
  <p:tag name="TEXT BOX 4_SHAPECLASSPROTECTIONTYPE" val="11"/>
  <p:tag name="RECTANGLE 3_SHAPECLASSPROTECTIONTYPE" val="0"/>
  <p:tag name="SHAPESETGROUPCLASSNAME" val="ShapeSetGroup1"/>
  <p:tag name="SHAPESETCLASSNAME" val="ShapeSet4a"/>
  <p:tag name="COLORSETGROUPCLASSNAME" val="ColorSetGroup1"/>
  <p:tag name="COLORSETCLASSNAME" val="ColorSet1"/>
  <p:tag name="FONTSETGROUPCLASSNAME" val="FontSetGroup1"/>
  <p:tag name="STYLESETGROUPCLASSNAME" val="StyleSetGroup1"/>
  <p:tag name="MAPNAME" val="Map1"/>
  <p:tag name="CFG.LAYOUT" val="DHLCD01"/>
  <p:tag name="MLI" val="1"/>
  <p:tag name="CONFIG" val="DHLCD01"/>
  <p:tag name="ML_1" val="GT8000000"/>
  <p:tag name="ML_2" val="DHL_Extern.mcr"/>
</p:tagLst>
</file>

<file path=ppt/theme/theme1.xml><?xml version="1.0" encoding="utf-8"?>
<a:theme xmlns:a="http://schemas.openxmlformats.org/drawingml/2006/main" name="DHL_PPT_16x9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>
        <a:spAutoFit/>
      </a:bodyPr>
      <a:lstStyle>
        <a:defPPr>
          <a:defRPr sz="700" dirty="0" smtClean="0"/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16x9.potx" id="{EE4D8910-6653-4EC0-B95E-1F0E6430571C}" vid="{32F225D3-6505-4AAF-BB49-C7F70A3739E7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101064E6EC58D46A7FD20DE64ECD378" ma:contentTypeVersion="0" ma:contentTypeDescription="Create a new document." ma:contentTypeScope="" ma:versionID="fe6a3742a816299d903fc890581757a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C7B7E0C-FFAF-422D-90B6-765F08D3071F}">
  <ds:schemaRefs>
    <ds:schemaRef ds:uri="http://www.w3.org/XML/1998/namespace"/>
    <ds:schemaRef ds:uri="http://purl.org/dc/terms/"/>
    <ds:schemaRef ds:uri="http://purl.org/dc/elements/1.1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9FEFAC8A-EEA6-4CD2-9327-1702F453C5C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2DACCA1-0F17-44BE-8C2B-6FDDE00452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HL_PPT_16x9</Template>
  <TotalTime>12223</TotalTime>
  <Words>971</Words>
  <Application>Microsoft Office PowerPoint</Application>
  <PresentationFormat>On-screen Show (16:9)</PresentationFormat>
  <Paragraphs>203</Paragraphs>
  <Slides>1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6" baseType="lpstr">
      <vt:lpstr>Arial</vt:lpstr>
      <vt:lpstr>Calibri</vt:lpstr>
      <vt:lpstr>Cambria Math</vt:lpstr>
      <vt:lpstr>Segoe UI</vt:lpstr>
      <vt:lpstr>Symbol</vt:lpstr>
      <vt:lpstr>Times New Roman</vt:lpstr>
      <vt:lpstr>Wingdings</vt:lpstr>
      <vt:lpstr>DHL_PPT_16x9</vt:lpstr>
      <vt:lpstr>think-cell Folie</vt:lpstr>
      <vt:lpstr>PowerPoint Presentation</vt:lpstr>
      <vt:lpstr>MQ – DATA Explained</vt:lpstr>
      <vt:lpstr>MQ – MSG Explained</vt:lpstr>
      <vt:lpstr>MQ – MSG Explained – CUSTOMER data identification</vt:lpstr>
      <vt:lpstr>High Level Communications Schema – TIER 1 / TIER 2</vt:lpstr>
      <vt:lpstr>High Level Communications Schema – SNIFFER / GRAYLOG</vt:lpstr>
      <vt:lpstr>MQ – Data fields from sniffer</vt:lpstr>
      <vt:lpstr>MQ – Data fields from sniffer</vt:lpstr>
      <vt:lpstr>TOW and COW</vt:lpstr>
      <vt:lpstr>COW VIEWS</vt:lpstr>
      <vt:lpstr>COW VIEWS Vs Total messages – Real issue</vt:lpstr>
      <vt:lpstr>COW VIEWS Vs LAN Bandwidth – Real issu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H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ease note: Important instructions for information classification</dc:title>
  <dc:creator>gpredari</dc:creator>
  <cp:keywords>16 to 9</cp:keywords>
  <cp:lastModifiedBy>Alberto Biasibetti (DHL IT)</cp:lastModifiedBy>
  <cp:revision>1246</cp:revision>
  <dcterms:created xsi:type="dcterms:W3CDTF">2015-02-02T13:39:48Z</dcterms:created>
  <dcterms:modified xsi:type="dcterms:W3CDTF">2020-05-22T14:29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ufzeichnungsdatum">
    <vt:lpwstr>June 2013</vt:lpwstr>
  </property>
  <property fmtid="{D5CDD505-2E9C-101B-9397-08002B2CF9AE}" pid="3" name="Dokumentnummer">
    <vt:lpwstr>3.0</vt:lpwstr>
  </property>
  <property fmtid="{D5CDD505-2E9C-101B-9397-08002B2CF9AE}" pid="4" name="Office">
    <vt:lpwstr>2007/2010</vt:lpwstr>
  </property>
  <property fmtid="{D5CDD505-2E9C-101B-9397-08002B2CF9AE}" pid="5" name="ContentTypeId">
    <vt:lpwstr>0x0101005101064E6EC58D46A7FD20DE64ECD378</vt:lpwstr>
  </property>
</Properties>
</file>